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4.xml" ContentType="application/vnd.openxmlformats-officedocument.theme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5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6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52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3">
  <p:sldMasterIdLst>
    <p:sldMasterId id="2147483648" r:id="rId1"/>
    <p:sldMasterId id="2147483651" r:id="rId2"/>
    <p:sldMasterId id="2147483656" r:id="rId3"/>
    <p:sldMasterId id="2147483673" r:id="rId4"/>
    <p:sldMasterId id="2147483689" r:id="rId5"/>
    <p:sldMasterId id="2147483706" r:id="rId6"/>
    <p:sldMasterId id="2147483711" r:id="rId7"/>
  </p:sldMasterIdLst>
  <p:notesMasterIdLst>
    <p:notesMasterId r:id="rId55"/>
  </p:notesMasterIdLst>
  <p:handoutMasterIdLst>
    <p:handoutMasterId r:id="rId56"/>
  </p:handoutMasterIdLst>
  <p:sldIdLst>
    <p:sldId id="594" r:id="rId8"/>
    <p:sldId id="596" r:id="rId9"/>
    <p:sldId id="583" r:id="rId10"/>
    <p:sldId id="517" r:id="rId11"/>
    <p:sldId id="262" r:id="rId12"/>
    <p:sldId id="651" r:id="rId13"/>
    <p:sldId id="671" r:id="rId14"/>
    <p:sldId id="555" r:id="rId15"/>
    <p:sldId id="652" r:id="rId16"/>
    <p:sldId id="542" r:id="rId17"/>
    <p:sldId id="672" r:id="rId18"/>
    <p:sldId id="673" r:id="rId19"/>
    <p:sldId id="674" r:id="rId20"/>
    <p:sldId id="675" r:id="rId21"/>
    <p:sldId id="676" r:id="rId22"/>
    <p:sldId id="677" r:id="rId23"/>
    <p:sldId id="678" r:id="rId24"/>
    <p:sldId id="563" r:id="rId25"/>
    <p:sldId id="679" r:id="rId26"/>
    <p:sldId id="694" r:id="rId27"/>
    <p:sldId id="680" r:id="rId28"/>
    <p:sldId id="681" r:id="rId29"/>
    <p:sldId id="567" r:id="rId30"/>
    <p:sldId id="682" r:id="rId31"/>
    <p:sldId id="683" r:id="rId32"/>
    <p:sldId id="571" r:id="rId33"/>
    <p:sldId id="684" r:id="rId34"/>
    <p:sldId id="685" r:id="rId35"/>
    <p:sldId id="686" r:id="rId36"/>
    <p:sldId id="584" r:id="rId37"/>
    <p:sldId id="624" r:id="rId38"/>
    <p:sldId id="625" r:id="rId39"/>
    <p:sldId id="641" r:id="rId40"/>
    <p:sldId id="653" r:id="rId41"/>
    <p:sldId id="640" r:id="rId42"/>
    <p:sldId id="646" r:id="rId43"/>
    <p:sldId id="645" r:id="rId44"/>
    <p:sldId id="644" r:id="rId45"/>
    <p:sldId id="643" r:id="rId46"/>
    <p:sldId id="642" r:id="rId47"/>
    <p:sldId id="647" r:id="rId48"/>
    <p:sldId id="650" r:id="rId49"/>
    <p:sldId id="691" r:id="rId50"/>
    <p:sldId id="692" r:id="rId51"/>
    <p:sldId id="648" r:id="rId52"/>
    <p:sldId id="649" r:id="rId53"/>
    <p:sldId id="638" r:id="rId54"/>
  </p:sldIdLst>
  <p:sldSz cx="9144000" cy="6858000" type="screen4x3"/>
  <p:notesSz cx="6797675" cy="99266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250F83A3-9B02-4DD4-8075-AB5F223238D8}">
          <p14:sldIdLst>
            <p14:sldId id="594"/>
            <p14:sldId id="596"/>
            <p14:sldId id="583"/>
            <p14:sldId id="517"/>
            <p14:sldId id="262"/>
            <p14:sldId id="651"/>
            <p14:sldId id="671"/>
            <p14:sldId id="555"/>
            <p14:sldId id="652"/>
            <p14:sldId id="542"/>
            <p14:sldId id="672"/>
            <p14:sldId id="673"/>
            <p14:sldId id="674"/>
            <p14:sldId id="675"/>
            <p14:sldId id="676"/>
            <p14:sldId id="677"/>
            <p14:sldId id="678"/>
            <p14:sldId id="563"/>
            <p14:sldId id="679"/>
            <p14:sldId id="694"/>
            <p14:sldId id="680"/>
            <p14:sldId id="681"/>
            <p14:sldId id="567"/>
            <p14:sldId id="682"/>
            <p14:sldId id="683"/>
            <p14:sldId id="571"/>
            <p14:sldId id="684"/>
            <p14:sldId id="685"/>
            <p14:sldId id="686"/>
            <p14:sldId id="584"/>
            <p14:sldId id="624"/>
            <p14:sldId id="625"/>
            <p14:sldId id="641"/>
            <p14:sldId id="653"/>
            <p14:sldId id="640"/>
            <p14:sldId id="646"/>
            <p14:sldId id="645"/>
            <p14:sldId id="644"/>
            <p14:sldId id="643"/>
            <p14:sldId id="642"/>
            <p14:sldId id="647"/>
            <p14:sldId id="650"/>
            <p14:sldId id="691"/>
            <p14:sldId id="692"/>
            <p14:sldId id="648"/>
            <p14:sldId id="649"/>
            <p14:sldId id="638"/>
          </p14:sldIdLst>
        </p14:section>
        <p14:section name="Untitled Section" id="{C3F1AC33-BE39-4FE4-B877-39534146D0EF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39B0A"/>
    <a:srgbClr val="03A90B"/>
    <a:srgbClr val="6F9D6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75F0CEF-E7C9-422C-A665-F8BDC4E031E5}" v="8" dt="2022-04-13T20:59:49.76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848" autoAdjust="0"/>
    <p:restoredTop sz="95865" autoAdjust="0"/>
  </p:normalViewPr>
  <p:slideViewPr>
    <p:cSldViewPr>
      <p:cViewPr varScale="1">
        <p:scale>
          <a:sx n="73" d="100"/>
          <a:sy n="73" d="100"/>
        </p:scale>
        <p:origin x="1446" y="5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>
      <p:cViewPr varScale="1">
        <p:scale>
          <a:sx n="50" d="100"/>
          <a:sy n="50" d="100"/>
        </p:scale>
        <p:origin x="-2532" y="-102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slide" Target="slides/slide32.xml"/><Relationship Id="rId21" Type="http://schemas.openxmlformats.org/officeDocument/2006/relationships/slide" Target="slides/slide14.xml"/><Relationship Id="rId34" Type="http://schemas.openxmlformats.org/officeDocument/2006/relationships/slide" Target="slides/slide27.xml"/><Relationship Id="rId42" Type="http://schemas.openxmlformats.org/officeDocument/2006/relationships/slide" Target="slides/slide35.xml"/><Relationship Id="rId47" Type="http://schemas.openxmlformats.org/officeDocument/2006/relationships/slide" Target="slides/slide40.xml"/><Relationship Id="rId50" Type="http://schemas.openxmlformats.org/officeDocument/2006/relationships/slide" Target="slides/slide43.xml"/><Relationship Id="rId55" Type="http://schemas.openxmlformats.org/officeDocument/2006/relationships/notesMaster" Target="notesMasters/notesMaster1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9" Type="http://schemas.openxmlformats.org/officeDocument/2006/relationships/slide" Target="slides/slide22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slide" Target="slides/slide30.xml"/><Relationship Id="rId40" Type="http://schemas.openxmlformats.org/officeDocument/2006/relationships/slide" Target="slides/slide33.xml"/><Relationship Id="rId45" Type="http://schemas.openxmlformats.org/officeDocument/2006/relationships/slide" Target="slides/slide38.xml"/><Relationship Id="rId53" Type="http://schemas.openxmlformats.org/officeDocument/2006/relationships/slide" Target="slides/slide46.xml"/><Relationship Id="rId58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61" Type="http://schemas.microsoft.com/office/2015/10/relationships/revisionInfo" Target="revisionInfo.xml"/><Relationship Id="rId19" Type="http://schemas.openxmlformats.org/officeDocument/2006/relationships/slide" Target="slides/slide1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slide" Target="slides/slide28.xml"/><Relationship Id="rId43" Type="http://schemas.openxmlformats.org/officeDocument/2006/relationships/slide" Target="slides/slide36.xml"/><Relationship Id="rId48" Type="http://schemas.openxmlformats.org/officeDocument/2006/relationships/slide" Target="slides/slide41.xml"/><Relationship Id="rId56" Type="http://schemas.openxmlformats.org/officeDocument/2006/relationships/handoutMaster" Target="handoutMasters/handoutMaster1.xml"/><Relationship Id="rId8" Type="http://schemas.openxmlformats.org/officeDocument/2006/relationships/slide" Target="slides/slide1.xml"/><Relationship Id="rId51" Type="http://schemas.openxmlformats.org/officeDocument/2006/relationships/slide" Target="slides/slide44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slide" Target="slides/slide31.xml"/><Relationship Id="rId46" Type="http://schemas.openxmlformats.org/officeDocument/2006/relationships/slide" Target="slides/slide39.xml"/><Relationship Id="rId59" Type="http://schemas.openxmlformats.org/officeDocument/2006/relationships/theme" Target="theme/theme1.xml"/><Relationship Id="rId20" Type="http://schemas.openxmlformats.org/officeDocument/2006/relationships/slide" Target="slides/slide13.xml"/><Relationship Id="rId41" Type="http://schemas.openxmlformats.org/officeDocument/2006/relationships/slide" Target="slides/slide34.xml"/><Relationship Id="rId54" Type="http://schemas.openxmlformats.org/officeDocument/2006/relationships/slide" Target="slides/slide47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slide" Target="slides/slide29.xml"/><Relationship Id="rId49" Type="http://schemas.openxmlformats.org/officeDocument/2006/relationships/slide" Target="slides/slide42.xml"/><Relationship Id="rId57" Type="http://schemas.openxmlformats.org/officeDocument/2006/relationships/presProps" Target="presProps.xml"/><Relationship Id="rId10" Type="http://schemas.openxmlformats.org/officeDocument/2006/relationships/slide" Target="slides/slide3.xml"/><Relationship Id="rId31" Type="http://schemas.openxmlformats.org/officeDocument/2006/relationships/slide" Target="slides/slide24.xml"/><Relationship Id="rId44" Type="http://schemas.openxmlformats.org/officeDocument/2006/relationships/slide" Target="slides/slide37.xml"/><Relationship Id="rId52" Type="http://schemas.openxmlformats.org/officeDocument/2006/relationships/slide" Target="slides/slide45.xml"/><Relationship Id="rId60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B5B3E96-510A-4CE8-A11B-31CBD2FA4C0D}" type="datetimeFigureOut">
              <a:rPr lang="en-US" smtClean="0"/>
              <a:pPr/>
              <a:t>4/21/2022</a:t>
            </a:fld>
            <a:endParaRPr lang="en-ZA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37A12ED-F32A-47F0-AB5B-DA049A49CEC4}" type="slidenum">
              <a:rPr lang="en-ZA" smtClean="0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EB90656-425C-4BD6-8B59-937B71857D80}" type="datetimeFigureOut">
              <a:rPr lang="en-US" smtClean="0"/>
              <a:pPr/>
              <a:t>4/21/2022</a:t>
            </a:fld>
            <a:endParaRPr lang="en-Z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Z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D4EA3F3-7F60-4372-AD96-0BFBCD79137E}" type="slidenum">
              <a:rPr lang="en-ZA" smtClean="0"/>
              <a:pPr/>
              <a:t>‹#›</a:t>
            </a:fld>
            <a:endParaRPr lang="en-ZA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741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/>
          </a:p>
        </p:txBody>
      </p:sp>
      <p:sp>
        <p:nvSpPr>
          <p:cNvPr id="17412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D06BAB15-4B2E-417D-B449-5DDBE8D66A53}" type="slidenum">
              <a:rPr lang="en-ZA" altLang="en-US"/>
              <a:pPr>
                <a:spcBef>
                  <a:spcPct val="0"/>
                </a:spcBef>
              </a:pPr>
              <a:t>1</a:t>
            </a:fld>
            <a:endParaRPr lang="en-ZA" altLang="en-US" dirty="0"/>
          </a:p>
        </p:txBody>
      </p:sp>
    </p:spTree>
    <p:extLst>
      <p:ext uri="{BB962C8B-B14F-4D97-AF65-F5344CB8AC3E}">
        <p14:creationId xmlns:p14="http://schemas.microsoft.com/office/powerpoint/2010/main" val="26542050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33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ZA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B057DA0D-B1AA-474B-A2F6-72248F0B5572}" type="slidenum">
              <a:rPr lang="en-ZA" smtClean="0">
                <a:solidFill>
                  <a:prstClr val="black"/>
                </a:solidFill>
                <a:latin typeface="Calibri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31</a:t>
            </a:fld>
            <a:endParaRPr lang="en-ZA" dirty="0"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pPr>
              <a:defRPr/>
            </a:pPr>
            <a:fld id="{7503E255-4AEF-4C54-9967-59FBF84C76AC}" type="datetime1">
              <a:rPr lang="en-US" smtClean="0">
                <a:solidFill>
                  <a:prstClr val="black"/>
                </a:solidFill>
              </a:rPr>
              <a:pPr>
                <a:defRPr/>
              </a:pPr>
              <a:t>4/21/2022</a:t>
            </a:fld>
            <a:endParaRPr lang="en-ZA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endParaRPr lang="en-ZA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41265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638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ZA" alt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pPr>
              <a:defRPr/>
            </a:pPr>
            <a:fld id="{CD5EC3D4-EC9E-4CF9-A419-672A1E2A981E}" type="datetime1">
              <a:rPr lang="en-US" smtClean="0">
                <a:solidFill>
                  <a:prstClr val="black"/>
                </a:solidFill>
              </a:rPr>
              <a:pPr>
                <a:defRPr/>
              </a:pPr>
              <a:t>4/21/2022</a:t>
            </a:fld>
            <a:endParaRPr lang="en-ZA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endParaRPr lang="en-ZA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807DE05D-768B-462D-95F1-2DD749FD4682}" type="slidenum">
              <a:rPr lang="en-ZA" smtClean="0">
                <a:solidFill>
                  <a:prstClr val="black"/>
                </a:solidFill>
                <a:latin typeface="Calibri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32</a:t>
            </a:fld>
            <a:endParaRPr lang="en-ZA" dirty="0">
              <a:solidFill>
                <a:prstClr val="black"/>
              </a:solidFill>
              <a:latin typeface="Calibri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843431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7" Type="http://schemas.openxmlformats.org/officeDocument/2006/relationships/image" Target="../media/image6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jpeg"/><Relationship Id="rId5" Type="http://schemas.openxmlformats.org/officeDocument/2006/relationships/image" Target="../media/image4.jpe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2.png"/><Relationship Id="rId5" Type="http://schemas.openxmlformats.org/officeDocument/2006/relationships/image" Target="../media/image11.jpeg"/><Relationship Id="rId4" Type="http://schemas.openxmlformats.org/officeDocument/2006/relationships/image" Target="../media/image3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4.jpeg"/><Relationship Id="rId4" Type="http://schemas.openxmlformats.org/officeDocument/2006/relationships/image" Target="../media/image3.pn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4.jpeg"/><Relationship Id="rId4" Type="http://schemas.openxmlformats.org/officeDocument/2006/relationships/image" Target="../media/image3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2.png"/><Relationship Id="rId5" Type="http://schemas.openxmlformats.org/officeDocument/2006/relationships/image" Target="../media/image11.jpeg"/><Relationship Id="rId4" Type="http://schemas.openxmlformats.org/officeDocument/2006/relationships/image" Target="../media/image3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4.jpeg"/><Relationship Id="rId4" Type="http://schemas.openxmlformats.org/officeDocument/2006/relationships/image" Target="../media/image3.png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12.png"/><Relationship Id="rId5" Type="http://schemas.openxmlformats.org/officeDocument/2006/relationships/image" Target="../media/image11.jpeg"/><Relationship Id="rId4" Type="http://schemas.openxmlformats.org/officeDocument/2006/relationships/image" Target="../media/image3.png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.xml"/><Relationship Id="rId1" Type="http://schemas.openxmlformats.org/officeDocument/2006/relationships/tags" Target="../tags/tag4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11430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11"/>
          <p:cNvPicPr>
            <a:picLocks noChangeAspect="1" noChangeArrowheads="1"/>
          </p:cNvPicPr>
          <p:nvPr userDrawn="1"/>
        </p:nvPicPr>
        <p:blipFill>
          <a:blip r:embed="rId2" cstate="print"/>
          <a:srcRect r="26000"/>
          <a:stretch>
            <a:fillRect/>
          </a:stretch>
        </p:blipFill>
        <p:spPr bwMode="auto">
          <a:xfrm>
            <a:off x="228600" y="1219200"/>
            <a:ext cx="1524000" cy="13729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9" name="Picture 7"/>
          <p:cNvPicPr>
            <a:picLocks noChangeAspect="1" noChangeArrowheads="1"/>
          </p:cNvPicPr>
          <p:nvPr userDrawn="1"/>
        </p:nvPicPr>
        <p:blipFill>
          <a:blip r:embed="rId3" cstate="print"/>
          <a:srcRect l="5799" r="18813"/>
          <a:stretch>
            <a:fillRect/>
          </a:stretch>
        </p:blipFill>
        <p:spPr bwMode="auto">
          <a:xfrm flipH="1">
            <a:off x="228600" y="2743200"/>
            <a:ext cx="1524000" cy="13338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4" cstate="print"/>
          <a:srcRect l="11563" r="32932" b="27168"/>
          <a:stretch>
            <a:fillRect/>
          </a:stretch>
        </p:blipFill>
        <p:spPr bwMode="auto">
          <a:xfrm>
            <a:off x="228600" y="4267200"/>
            <a:ext cx="1567543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12" name="Straight Connector 11"/>
          <p:cNvCxnSpPr/>
          <p:nvPr userDrawn="1"/>
        </p:nvCxnSpPr>
        <p:spPr>
          <a:xfrm>
            <a:off x="2514600" y="2667000"/>
            <a:ext cx="64008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2514600" y="4191000"/>
            <a:ext cx="64008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NDOH Logo.jpg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152400" y="5867400"/>
            <a:ext cx="2286000" cy="824484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0" y="5791200"/>
            <a:ext cx="9144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 descr="Phila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6786578" y="5929354"/>
            <a:ext cx="1071570" cy="910387"/>
          </a:xfrm>
          <a:prstGeom prst="rect">
            <a:avLst/>
          </a:prstGeom>
        </p:spPr>
      </p:pic>
      <p:pic>
        <p:nvPicPr>
          <p:cNvPr id="13" name="Picture 12" descr="Logo - NDP - Full colour.jp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8001024" y="5870484"/>
            <a:ext cx="1058978" cy="105897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2551162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Slide Number Placeholder 5"/>
          <p:cNvSpPr txBox="1">
            <a:spLocks/>
          </p:cNvSpPr>
          <p:nvPr/>
        </p:nvSpPr>
        <p:spPr>
          <a:xfrm>
            <a:off x="8119306" y="6356349"/>
            <a:ext cx="79208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7CBE16-C524-4E85-84FB-DE985D9DE1E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6587684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528" y="234950"/>
            <a:ext cx="6822082" cy="530225"/>
          </a:xfrm>
          <a:prstGeom prst="rect">
            <a:avLst/>
          </a:prstGeom>
        </p:spPr>
        <p:txBody>
          <a:bodyPr anchor="b"/>
          <a:lstStyle>
            <a:lvl1pPr>
              <a:defRPr sz="2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1061492"/>
            <a:ext cx="2949575" cy="467176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2551162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8119306" y="6356349"/>
            <a:ext cx="79208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7CBE16-C524-4E85-84FB-DE985D9DE1E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3887788" y="2060848"/>
            <a:ext cx="4629150" cy="3600400"/>
          </a:xfrm>
          <a:prstGeom prst="rect">
            <a:avLst/>
          </a:prstGeom>
        </p:spPr>
        <p:txBody>
          <a:bodyPr/>
          <a:lstStyle>
            <a:lvl1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87788" y="1061492"/>
            <a:ext cx="4629150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lang="en-US" sz="2400" b="1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239564"/>
      </p:ext>
    </p:extLst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528" y="234950"/>
            <a:ext cx="6822082" cy="530225"/>
          </a:xfrm>
          <a:prstGeom prst="rect">
            <a:avLst/>
          </a:prstGeom>
        </p:spPr>
        <p:txBody>
          <a:bodyPr anchor="b"/>
          <a:lstStyle>
            <a:lvl1pPr>
              <a:defRPr sz="2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788" y="1124744"/>
            <a:ext cx="4629150" cy="46085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1124744"/>
            <a:ext cx="2949575" cy="46085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2551162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8119306" y="6356349"/>
            <a:ext cx="79208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7CBE16-C524-4E85-84FB-DE985D9DE1E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8025061"/>
      </p:ext>
    </p:extLst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520" y="188640"/>
            <a:ext cx="6391622" cy="759619"/>
          </a:xfrm>
          <a:prstGeom prst="rect">
            <a:avLst/>
          </a:prstGeom>
        </p:spPr>
        <p:txBody>
          <a:bodyPr/>
          <a:lstStyle>
            <a:lvl1pPr>
              <a:defRPr lang="en-US" sz="28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51520" y="1196752"/>
            <a:ext cx="8640960" cy="4608512"/>
          </a:xfrm>
          <a:prstGeom prst="rect">
            <a:avLst/>
          </a:prstGeom>
        </p:spPr>
        <p:txBody>
          <a:bodyPr vert="eaVert"/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2551162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8119306" y="6356349"/>
            <a:ext cx="79208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7CBE16-C524-4E85-84FB-DE985D9DE1E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213635"/>
      </p:ext>
    </p:extLst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1196751"/>
            <a:ext cx="1971675" cy="4464497"/>
          </a:xfrm>
          <a:prstGeom prst="rect">
            <a:avLst/>
          </a:prstGeom>
        </p:spPr>
        <p:txBody>
          <a:bodyPr vert="eaVert"/>
          <a:lstStyle>
            <a:lvl1pPr>
              <a:defRPr sz="24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196751"/>
            <a:ext cx="5762625" cy="4320481"/>
          </a:xfrm>
          <a:prstGeom prst="rect">
            <a:avLst/>
          </a:prstGeom>
        </p:spPr>
        <p:txBody>
          <a:bodyPr vert="eaVert"/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251520" y="188640"/>
            <a:ext cx="6391622" cy="759619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lang="en-US" sz="28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2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Click to edit Master title style</a:t>
            </a:r>
            <a:endParaRPr kumimoji="0" lang="en-ZA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2551162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8119306" y="6356349"/>
            <a:ext cx="79208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7CBE16-C524-4E85-84FB-DE985D9DE1E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8111730"/>
      </p:ext>
    </p:extLst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/>
          <p:nvPr userDrawn="1"/>
        </p:nvCxnSpPr>
        <p:spPr>
          <a:xfrm>
            <a:off x="0" y="5791200"/>
            <a:ext cx="9144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5" descr="Phila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584825" y="5929313"/>
            <a:ext cx="1071563" cy="909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9" descr="Logo - NDP - Full colour.jpg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799263" y="5870575"/>
            <a:ext cx="1058862" cy="1058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72193348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0" y="5791200"/>
            <a:ext cx="9144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 descr="Phila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5584724" y="5929354"/>
            <a:ext cx="1071570" cy="910387"/>
          </a:xfrm>
          <a:prstGeom prst="rect">
            <a:avLst/>
          </a:prstGeom>
        </p:spPr>
      </p:pic>
      <p:pic>
        <p:nvPicPr>
          <p:cNvPr id="4" name="Picture 3" descr="Logo - NDP - Full colour.jp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6799170" y="5870484"/>
            <a:ext cx="1058978" cy="1058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531943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9144000" cy="11430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" name="Picture 1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5999"/>
          <a:stretch>
            <a:fillRect/>
          </a:stretch>
        </p:blipFill>
        <p:spPr bwMode="auto">
          <a:xfrm>
            <a:off x="228600" y="1219200"/>
            <a:ext cx="1524000" cy="1373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813" r="5798"/>
          <a:stretch>
            <a:fillRect/>
          </a:stretch>
        </p:blipFill>
        <p:spPr bwMode="auto">
          <a:xfrm>
            <a:off x="228600" y="2743200"/>
            <a:ext cx="1524000" cy="133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9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63" r="32932" b="27168"/>
          <a:stretch>
            <a:fillRect/>
          </a:stretch>
        </p:blipFill>
        <p:spPr bwMode="auto">
          <a:xfrm>
            <a:off x="228600" y="4267200"/>
            <a:ext cx="1566863" cy="137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Straight Connector 5"/>
          <p:cNvCxnSpPr/>
          <p:nvPr/>
        </p:nvCxnSpPr>
        <p:spPr>
          <a:xfrm>
            <a:off x="2514600" y="2667000"/>
            <a:ext cx="64008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/>
        </p:nvCxnSpPr>
        <p:spPr>
          <a:xfrm>
            <a:off x="2514600" y="4191000"/>
            <a:ext cx="64008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12" descr="NDOH Logo.jp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5867400"/>
            <a:ext cx="2286000" cy="823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" name="Straight Connector 8"/>
          <p:cNvCxnSpPr/>
          <p:nvPr/>
        </p:nvCxnSpPr>
        <p:spPr>
          <a:xfrm>
            <a:off x="0" y="5791200"/>
            <a:ext cx="9144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 userDrawn="1"/>
        </p:nvSpPr>
        <p:spPr>
          <a:xfrm>
            <a:off x="0" y="0"/>
            <a:ext cx="9144000" cy="11430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1" name="Picture 11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5999"/>
          <a:stretch>
            <a:fillRect/>
          </a:stretch>
        </p:blipFill>
        <p:spPr bwMode="auto">
          <a:xfrm>
            <a:off x="228600" y="1219200"/>
            <a:ext cx="1524000" cy="1373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7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813" r="5798"/>
          <a:stretch>
            <a:fillRect/>
          </a:stretch>
        </p:blipFill>
        <p:spPr bwMode="auto">
          <a:xfrm>
            <a:off x="228600" y="2743200"/>
            <a:ext cx="1524000" cy="133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9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63" r="32932" b="27168"/>
          <a:stretch>
            <a:fillRect/>
          </a:stretch>
        </p:blipFill>
        <p:spPr bwMode="auto">
          <a:xfrm>
            <a:off x="228600" y="4267200"/>
            <a:ext cx="1566863" cy="137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4" name="Straight Connector 13"/>
          <p:cNvCxnSpPr/>
          <p:nvPr userDrawn="1"/>
        </p:nvCxnSpPr>
        <p:spPr>
          <a:xfrm>
            <a:off x="2514600" y="2667000"/>
            <a:ext cx="64008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>
            <a:off x="2514600" y="4191000"/>
            <a:ext cx="64008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2" descr="NDOH Logo.jp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5867400"/>
            <a:ext cx="2286000" cy="823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7" name="Straight Connector 16"/>
          <p:cNvCxnSpPr/>
          <p:nvPr userDrawn="1"/>
        </p:nvCxnSpPr>
        <p:spPr>
          <a:xfrm>
            <a:off x="0" y="5791200"/>
            <a:ext cx="9144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2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72438" y="5815013"/>
            <a:ext cx="928687" cy="1042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1406908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11430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" name="Picture 11"/>
          <p:cNvPicPr>
            <a:picLocks noChangeAspect="1" noChangeArrowheads="1"/>
          </p:cNvPicPr>
          <p:nvPr/>
        </p:nvPicPr>
        <p:blipFill>
          <a:blip r:embed="rId2" cstate="print"/>
          <a:srcRect r="26000"/>
          <a:stretch>
            <a:fillRect/>
          </a:stretch>
        </p:blipFill>
        <p:spPr bwMode="auto">
          <a:xfrm>
            <a:off x="228600" y="1219200"/>
            <a:ext cx="1524000" cy="13729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9" name="Picture 7"/>
          <p:cNvPicPr>
            <a:picLocks noChangeAspect="1" noChangeArrowheads="1"/>
          </p:cNvPicPr>
          <p:nvPr/>
        </p:nvPicPr>
        <p:blipFill>
          <a:blip r:embed="rId3" cstate="print"/>
          <a:srcRect l="5799" r="18813"/>
          <a:stretch>
            <a:fillRect/>
          </a:stretch>
        </p:blipFill>
        <p:spPr bwMode="auto">
          <a:xfrm flipH="1">
            <a:off x="228600" y="2743200"/>
            <a:ext cx="1524000" cy="13338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9"/>
          <p:cNvPicPr>
            <a:picLocks noChangeAspect="1" noChangeArrowheads="1"/>
          </p:cNvPicPr>
          <p:nvPr/>
        </p:nvPicPr>
        <p:blipFill>
          <a:blip r:embed="rId4" cstate="print"/>
          <a:srcRect l="11563" r="32932" b="27168"/>
          <a:stretch>
            <a:fillRect/>
          </a:stretch>
        </p:blipFill>
        <p:spPr bwMode="auto">
          <a:xfrm>
            <a:off x="228600" y="4267200"/>
            <a:ext cx="1567543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12" name="Straight Connector 11"/>
          <p:cNvCxnSpPr/>
          <p:nvPr/>
        </p:nvCxnSpPr>
        <p:spPr>
          <a:xfrm>
            <a:off x="2514600" y="2667000"/>
            <a:ext cx="64008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2514600" y="4191000"/>
            <a:ext cx="64008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NDOH Logo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52400" y="5867400"/>
            <a:ext cx="2286000" cy="824484"/>
          </a:xfrm>
          <a:prstGeom prst="rect">
            <a:avLst/>
          </a:prstGeom>
        </p:spPr>
      </p:pic>
      <p:cxnSp>
        <p:nvCxnSpPr>
          <p:cNvPr id="17" name="Straight Connector 16"/>
          <p:cNvCxnSpPr/>
          <p:nvPr/>
        </p:nvCxnSpPr>
        <p:spPr>
          <a:xfrm>
            <a:off x="0" y="5791200"/>
            <a:ext cx="9144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14600" y="1217612"/>
            <a:ext cx="6279018" cy="1325563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defRPr lang="en-US" sz="3600" kern="12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ZA" dirty="0"/>
              <a:t>[Insert title of meeting/event here]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485996" y="3207150"/>
            <a:ext cx="57912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[Insert name of presenter/unit here]</a:t>
            </a:r>
          </a:p>
        </p:txBody>
      </p:sp>
      <p:sp>
        <p:nvSpPr>
          <p:cNvPr id="19" name="Date Placeholder 1"/>
          <p:cNvSpPr>
            <a:spLocks noGrp="1"/>
          </p:cNvSpPr>
          <p:nvPr>
            <p:ph type="dt" sz="half" idx="10"/>
          </p:nvPr>
        </p:nvSpPr>
        <p:spPr>
          <a:xfrm>
            <a:off x="3923928" y="4669965"/>
            <a:ext cx="2808312" cy="365125"/>
          </a:xfrm>
          <a:prstGeom prst="rect">
            <a:avLst/>
          </a:prstGeom>
        </p:spPr>
        <p:txBody>
          <a:bodyPr/>
          <a:lstStyle>
            <a:lvl1pPr algn="ctr">
              <a:defRPr lang="en-US" sz="2000" kern="120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2E548F0-25AB-4D0C-9DD8-3BA9C1D1232D}" type="datetimeFigureOut">
              <a:rPr kumimoji="0" lang="en-US" sz="20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/21/2022</a:t>
            </a:fld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60989627"/>
      </p:ext>
    </p:extLst>
  </p:cSld>
  <p:clrMapOvr>
    <a:masterClrMapping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6463630" cy="543595"/>
          </a:xfrm>
          <a:prstGeom prst="rect">
            <a:avLst/>
          </a:prstGeom>
        </p:spPr>
        <p:txBody>
          <a:bodyPr/>
          <a:lstStyle>
            <a:lvl1pPr>
              <a:defRPr lang="en-US" sz="2800" b="1" kern="120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43808" y="6356349"/>
            <a:ext cx="30861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8119306" y="6356349"/>
            <a:ext cx="79208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7CBE16-C524-4E85-84FB-DE985D9DE1E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9688191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0" y="5791200"/>
            <a:ext cx="9144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 descr="Phila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5584724" y="5929354"/>
            <a:ext cx="1071570" cy="910387"/>
          </a:xfrm>
          <a:prstGeom prst="rect">
            <a:avLst/>
          </a:prstGeom>
        </p:spPr>
      </p:pic>
      <p:pic>
        <p:nvPicPr>
          <p:cNvPr id="4" name="Picture 3" descr="Logo - NDP - Full colour.jp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6799170" y="5870484"/>
            <a:ext cx="1058978" cy="105897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/>
        </p:nvCxnSpPr>
        <p:spPr>
          <a:xfrm>
            <a:off x="0" y="5791200"/>
            <a:ext cx="9144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6463630" cy="543595"/>
          </a:xfrm>
          <a:prstGeom prst="rect">
            <a:avLst/>
          </a:prstGeom>
        </p:spPr>
        <p:txBody>
          <a:bodyPr/>
          <a:lstStyle>
            <a:lvl1pPr>
              <a:defRPr lang="en-US" sz="2800" b="1" kern="120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8119306" y="6356349"/>
            <a:ext cx="79208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7CBE16-C524-4E85-84FB-DE985D9DE1E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0475194"/>
      </p:ext>
    </p:extLst>
  </p:cSld>
  <p:clrMapOvr>
    <a:masterClrMapping/>
  </p:clrMapOvr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 marL="0" algn="l" defTabSz="914400" rtl="0" eaLnBrk="1" latinLnBrk="0" hangingPunct="1">
              <a:spcBef>
                <a:spcPct val="0"/>
              </a:spcBef>
              <a:buNone/>
              <a:defRPr lang="en-US" sz="3600" kern="12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2551162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8119306" y="6356349"/>
            <a:ext cx="79208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7CBE16-C524-4E85-84FB-DE985D9DE1E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4564940"/>
      </p:ext>
    </p:extLst>
  </p:cSld>
  <p:clrMapOvr>
    <a:masterClrMapping/>
  </p:clrMapOvr>
  <p:hf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0618" y="260648"/>
            <a:ext cx="6535638" cy="543595"/>
          </a:xfrm>
          <a:prstGeom prst="rect">
            <a:avLst/>
          </a:prstGeom>
        </p:spPr>
        <p:txBody>
          <a:bodyPr/>
          <a:lstStyle>
            <a:lvl1pPr algn="l">
              <a:defRPr lang="en-US" sz="2800" b="1" kern="1200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7544" y="1196752"/>
            <a:ext cx="3867150" cy="4990684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96752"/>
            <a:ext cx="3867150" cy="4980211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699792" y="6356350"/>
            <a:ext cx="2808312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8119306" y="6356349"/>
            <a:ext cx="79208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7CBE16-C524-4E85-84FB-DE985D9DE1E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3576929"/>
      </p:ext>
    </p:extLst>
  </p:cSld>
  <p:clrMapOvr>
    <a:masterClrMapping/>
  </p:clrMapOvr>
  <p:hf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520" y="260648"/>
            <a:ext cx="6462042" cy="615603"/>
          </a:xfrm>
          <a:prstGeom prst="rect">
            <a:avLst/>
          </a:prstGeom>
        </p:spPr>
        <p:txBody>
          <a:bodyPr/>
          <a:lstStyle>
            <a:lvl1pPr>
              <a:defRPr lang="en-US" sz="2800" b="1" kern="120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buNone/>
              <a:defRPr lang="en-US" sz="2400" b="1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lang="en-US" sz="2400" b="1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2551162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Slide Number Placeholder 5"/>
          <p:cNvSpPr txBox="1">
            <a:spLocks/>
          </p:cNvSpPr>
          <p:nvPr/>
        </p:nvSpPr>
        <p:spPr>
          <a:xfrm>
            <a:off x="8119306" y="6356349"/>
            <a:ext cx="79208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7CBE16-C524-4E85-84FB-DE985D9DE1E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8789541"/>
      </p:ext>
    </p:extLst>
  </p:cSld>
  <p:clrMapOvr>
    <a:masterClrMapping/>
  </p:clrMapOvr>
  <p:hf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520" y="188641"/>
            <a:ext cx="6768752" cy="720080"/>
          </a:xfrm>
          <a:prstGeom prst="rect">
            <a:avLst/>
          </a:prstGeom>
        </p:spPr>
        <p:txBody>
          <a:bodyPr/>
          <a:lstStyle>
            <a:lvl1pPr>
              <a:defRPr sz="2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2E548F0-25AB-4D0C-9DD8-3BA9C1D1232D}" type="datetimeFigureOut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/21/2022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2551162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8119306" y="6356349"/>
            <a:ext cx="79208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7CBE16-C524-4E85-84FB-DE985D9DE1E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0994852"/>
      </p:ext>
    </p:extLst>
  </p:cSld>
  <p:clrMapOvr>
    <a:masterClrMapping/>
  </p:clrMapOvr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2551162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Slide Number Placeholder 5"/>
          <p:cNvSpPr txBox="1">
            <a:spLocks/>
          </p:cNvSpPr>
          <p:nvPr/>
        </p:nvSpPr>
        <p:spPr>
          <a:xfrm>
            <a:off x="8119306" y="6356349"/>
            <a:ext cx="79208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7CBE16-C524-4E85-84FB-DE985D9DE1E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1789049"/>
      </p:ext>
    </p:extLst>
  </p:cSld>
  <p:clrMapOvr>
    <a:masterClrMapping/>
  </p:clrMapOvr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528" y="234950"/>
            <a:ext cx="6822082" cy="530225"/>
          </a:xfrm>
          <a:prstGeom prst="rect">
            <a:avLst/>
          </a:prstGeom>
        </p:spPr>
        <p:txBody>
          <a:bodyPr anchor="b"/>
          <a:lstStyle>
            <a:lvl1pPr>
              <a:defRPr sz="2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1061492"/>
            <a:ext cx="2949575" cy="467176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2551162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8119306" y="6356349"/>
            <a:ext cx="79208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7CBE16-C524-4E85-84FB-DE985D9DE1E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3887788" y="2060848"/>
            <a:ext cx="4629150" cy="3600400"/>
          </a:xfrm>
          <a:prstGeom prst="rect">
            <a:avLst/>
          </a:prstGeom>
        </p:spPr>
        <p:txBody>
          <a:bodyPr/>
          <a:lstStyle>
            <a:lvl1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87788" y="1061492"/>
            <a:ext cx="4629150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lang="en-US" sz="2400" b="1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06668372"/>
      </p:ext>
    </p:extLst>
  </p:cSld>
  <p:clrMapOvr>
    <a:masterClrMapping/>
  </p:clrMapOvr>
  <p:hf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528" y="234950"/>
            <a:ext cx="6822082" cy="530225"/>
          </a:xfrm>
          <a:prstGeom prst="rect">
            <a:avLst/>
          </a:prstGeom>
        </p:spPr>
        <p:txBody>
          <a:bodyPr anchor="b"/>
          <a:lstStyle>
            <a:lvl1pPr>
              <a:defRPr sz="2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788" y="1124744"/>
            <a:ext cx="4629150" cy="46085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1124744"/>
            <a:ext cx="2949575" cy="46085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2551162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8119306" y="6356349"/>
            <a:ext cx="79208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7CBE16-C524-4E85-84FB-DE985D9DE1E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6705409"/>
      </p:ext>
    </p:extLst>
  </p:cSld>
  <p:clrMapOvr>
    <a:masterClrMapping/>
  </p:clrMapOvr>
  <p:hf hdr="0" ft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520" y="188640"/>
            <a:ext cx="6391622" cy="759619"/>
          </a:xfrm>
          <a:prstGeom prst="rect">
            <a:avLst/>
          </a:prstGeom>
        </p:spPr>
        <p:txBody>
          <a:bodyPr/>
          <a:lstStyle>
            <a:lvl1pPr>
              <a:defRPr lang="en-US" sz="28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51520" y="1196752"/>
            <a:ext cx="8640960" cy="4608512"/>
          </a:xfrm>
          <a:prstGeom prst="rect">
            <a:avLst/>
          </a:prstGeom>
        </p:spPr>
        <p:txBody>
          <a:bodyPr vert="eaVert"/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2551162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8119306" y="6356349"/>
            <a:ext cx="79208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7CBE16-C524-4E85-84FB-DE985D9DE1E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0979563"/>
      </p:ext>
    </p:extLst>
  </p:cSld>
  <p:clrMapOvr>
    <a:masterClrMapping/>
  </p:clrMapOvr>
  <p:hf hdr="0" ft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1196751"/>
            <a:ext cx="1971675" cy="4464497"/>
          </a:xfrm>
          <a:prstGeom prst="rect">
            <a:avLst/>
          </a:prstGeom>
        </p:spPr>
        <p:txBody>
          <a:bodyPr vert="eaVert"/>
          <a:lstStyle>
            <a:lvl1pPr>
              <a:defRPr sz="24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196751"/>
            <a:ext cx="5762625" cy="4320481"/>
          </a:xfrm>
          <a:prstGeom prst="rect">
            <a:avLst/>
          </a:prstGeom>
        </p:spPr>
        <p:txBody>
          <a:bodyPr vert="eaVert"/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251520" y="188640"/>
            <a:ext cx="6391622" cy="759619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lang="en-US" sz="28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2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Click to edit Master title style</a:t>
            </a:r>
            <a:endParaRPr kumimoji="0" lang="en-ZA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2551162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8119306" y="6356349"/>
            <a:ext cx="79208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7CBE16-C524-4E85-84FB-DE985D9DE1E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1926980"/>
      </p:ext>
    </p:extLst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11430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" name="Picture 11"/>
          <p:cNvPicPr>
            <a:picLocks noChangeAspect="1" noChangeArrowheads="1"/>
          </p:cNvPicPr>
          <p:nvPr/>
        </p:nvPicPr>
        <p:blipFill>
          <a:blip r:embed="rId2" cstate="print"/>
          <a:srcRect r="26000"/>
          <a:stretch>
            <a:fillRect/>
          </a:stretch>
        </p:blipFill>
        <p:spPr bwMode="auto">
          <a:xfrm>
            <a:off x="228600" y="1219200"/>
            <a:ext cx="1524000" cy="13729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9" name="Picture 7"/>
          <p:cNvPicPr>
            <a:picLocks noChangeAspect="1" noChangeArrowheads="1"/>
          </p:cNvPicPr>
          <p:nvPr/>
        </p:nvPicPr>
        <p:blipFill>
          <a:blip r:embed="rId3" cstate="print"/>
          <a:srcRect l="5799" r="18813"/>
          <a:stretch>
            <a:fillRect/>
          </a:stretch>
        </p:blipFill>
        <p:spPr bwMode="auto">
          <a:xfrm flipH="1">
            <a:off x="228600" y="2743200"/>
            <a:ext cx="1524000" cy="13338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9"/>
          <p:cNvPicPr>
            <a:picLocks noChangeAspect="1" noChangeArrowheads="1"/>
          </p:cNvPicPr>
          <p:nvPr/>
        </p:nvPicPr>
        <p:blipFill>
          <a:blip r:embed="rId4" cstate="print"/>
          <a:srcRect l="11563" r="32932" b="27168"/>
          <a:stretch>
            <a:fillRect/>
          </a:stretch>
        </p:blipFill>
        <p:spPr bwMode="auto">
          <a:xfrm>
            <a:off x="228600" y="4267200"/>
            <a:ext cx="1567543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12" name="Straight Connector 11"/>
          <p:cNvCxnSpPr/>
          <p:nvPr/>
        </p:nvCxnSpPr>
        <p:spPr>
          <a:xfrm>
            <a:off x="2514600" y="2667000"/>
            <a:ext cx="64008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2514600" y="4191000"/>
            <a:ext cx="64008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NDOH Logo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52400" y="5867400"/>
            <a:ext cx="2286000" cy="824484"/>
          </a:xfrm>
          <a:prstGeom prst="rect">
            <a:avLst/>
          </a:prstGeom>
        </p:spPr>
      </p:pic>
      <p:cxnSp>
        <p:nvCxnSpPr>
          <p:cNvPr id="17" name="Straight Connector 16"/>
          <p:cNvCxnSpPr/>
          <p:nvPr/>
        </p:nvCxnSpPr>
        <p:spPr>
          <a:xfrm>
            <a:off x="0" y="5791200"/>
            <a:ext cx="9144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14600" y="1217612"/>
            <a:ext cx="6279018" cy="1325563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defRPr lang="en-US" sz="3600" kern="12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ZA" dirty="0"/>
              <a:t>[Insert title of meeting/event here]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485996" y="3207150"/>
            <a:ext cx="57912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[Insert name of presenter/unit here]</a:t>
            </a:r>
          </a:p>
        </p:txBody>
      </p:sp>
      <p:sp>
        <p:nvSpPr>
          <p:cNvPr id="19" name="Date Placeholder 1"/>
          <p:cNvSpPr>
            <a:spLocks noGrp="1"/>
          </p:cNvSpPr>
          <p:nvPr>
            <p:ph type="dt" sz="half" idx="10"/>
          </p:nvPr>
        </p:nvSpPr>
        <p:spPr>
          <a:xfrm>
            <a:off x="3923928" y="4669965"/>
            <a:ext cx="2808312" cy="365125"/>
          </a:xfrm>
          <a:prstGeom prst="rect">
            <a:avLst/>
          </a:prstGeom>
        </p:spPr>
        <p:txBody>
          <a:bodyPr/>
          <a:lstStyle>
            <a:lvl1pPr algn="ctr">
              <a:defRPr lang="en-US" sz="2000" kern="120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2E548F0-25AB-4D0C-9DD8-3BA9C1D1232D}" type="datetimeFigureOut">
              <a:rPr kumimoji="0" lang="en-US" sz="20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/21/2022</a:t>
            </a:fld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8783011"/>
      </p:ext>
    </p:extLst>
  </p:cSld>
  <p:clrMapOvr>
    <a:masterClrMapping/>
  </p:clrMapOvr>
  <p:hf hdr="0" ft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/>
          <p:nvPr userDrawn="1"/>
        </p:nvCxnSpPr>
        <p:spPr>
          <a:xfrm>
            <a:off x="0" y="5791200"/>
            <a:ext cx="9144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5" descr="Phila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584825" y="5929313"/>
            <a:ext cx="1071563" cy="909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9" descr="Logo - NDP - Full colour.jpg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799263" y="5870575"/>
            <a:ext cx="1058862" cy="1058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92057867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0" y="5791200"/>
            <a:ext cx="9144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 descr="Phila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5584724" y="5929354"/>
            <a:ext cx="1071570" cy="910387"/>
          </a:xfrm>
          <a:prstGeom prst="rect">
            <a:avLst/>
          </a:prstGeom>
        </p:spPr>
      </p:pic>
      <p:pic>
        <p:nvPicPr>
          <p:cNvPr id="4" name="Picture 3" descr="Logo - NDP - Full colour.jp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6799170" y="5870484"/>
            <a:ext cx="1058978" cy="1058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424907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9144000" cy="11430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" name="Picture 1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5999"/>
          <a:stretch>
            <a:fillRect/>
          </a:stretch>
        </p:blipFill>
        <p:spPr bwMode="auto">
          <a:xfrm>
            <a:off x="228600" y="1219200"/>
            <a:ext cx="1524000" cy="1373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813" r="5798"/>
          <a:stretch>
            <a:fillRect/>
          </a:stretch>
        </p:blipFill>
        <p:spPr bwMode="auto">
          <a:xfrm>
            <a:off x="228600" y="2743200"/>
            <a:ext cx="1524000" cy="133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9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63" r="32932" b="27168"/>
          <a:stretch>
            <a:fillRect/>
          </a:stretch>
        </p:blipFill>
        <p:spPr bwMode="auto">
          <a:xfrm>
            <a:off x="228600" y="4267200"/>
            <a:ext cx="1566863" cy="137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Straight Connector 5"/>
          <p:cNvCxnSpPr/>
          <p:nvPr/>
        </p:nvCxnSpPr>
        <p:spPr>
          <a:xfrm>
            <a:off x="2514600" y="2667000"/>
            <a:ext cx="64008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/>
        </p:nvCxnSpPr>
        <p:spPr>
          <a:xfrm>
            <a:off x="2514600" y="4191000"/>
            <a:ext cx="64008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12" descr="NDOH Logo.jp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5867400"/>
            <a:ext cx="2286000" cy="823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" name="Straight Connector 8"/>
          <p:cNvCxnSpPr/>
          <p:nvPr/>
        </p:nvCxnSpPr>
        <p:spPr>
          <a:xfrm>
            <a:off x="0" y="5791200"/>
            <a:ext cx="9144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 userDrawn="1"/>
        </p:nvSpPr>
        <p:spPr>
          <a:xfrm>
            <a:off x="0" y="0"/>
            <a:ext cx="9144000" cy="11430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1" name="Picture 11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5999"/>
          <a:stretch>
            <a:fillRect/>
          </a:stretch>
        </p:blipFill>
        <p:spPr bwMode="auto">
          <a:xfrm>
            <a:off x="228600" y="1219200"/>
            <a:ext cx="1524000" cy="1373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7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813" r="5798"/>
          <a:stretch>
            <a:fillRect/>
          </a:stretch>
        </p:blipFill>
        <p:spPr bwMode="auto">
          <a:xfrm>
            <a:off x="228600" y="2743200"/>
            <a:ext cx="1524000" cy="133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9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63" r="32932" b="27168"/>
          <a:stretch>
            <a:fillRect/>
          </a:stretch>
        </p:blipFill>
        <p:spPr bwMode="auto">
          <a:xfrm>
            <a:off x="228600" y="4267200"/>
            <a:ext cx="1566863" cy="137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4" name="Straight Connector 13"/>
          <p:cNvCxnSpPr/>
          <p:nvPr userDrawn="1"/>
        </p:nvCxnSpPr>
        <p:spPr>
          <a:xfrm>
            <a:off x="2514600" y="2667000"/>
            <a:ext cx="64008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>
            <a:off x="2514600" y="4191000"/>
            <a:ext cx="64008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2" descr="NDOH Logo.jp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5867400"/>
            <a:ext cx="2286000" cy="823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7" name="Straight Connector 16"/>
          <p:cNvCxnSpPr/>
          <p:nvPr userDrawn="1"/>
        </p:nvCxnSpPr>
        <p:spPr>
          <a:xfrm>
            <a:off x="0" y="5791200"/>
            <a:ext cx="9144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2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72438" y="5815013"/>
            <a:ext cx="928687" cy="1042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5087497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11430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" name="Picture 11"/>
          <p:cNvPicPr>
            <a:picLocks noChangeAspect="1" noChangeArrowheads="1"/>
          </p:cNvPicPr>
          <p:nvPr/>
        </p:nvPicPr>
        <p:blipFill>
          <a:blip r:embed="rId2" cstate="print"/>
          <a:srcRect r="26000"/>
          <a:stretch>
            <a:fillRect/>
          </a:stretch>
        </p:blipFill>
        <p:spPr bwMode="auto">
          <a:xfrm>
            <a:off x="228600" y="1219200"/>
            <a:ext cx="1524000" cy="13729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9" name="Picture 7"/>
          <p:cNvPicPr>
            <a:picLocks noChangeAspect="1" noChangeArrowheads="1"/>
          </p:cNvPicPr>
          <p:nvPr/>
        </p:nvPicPr>
        <p:blipFill>
          <a:blip r:embed="rId3" cstate="print"/>
          <a:srcRect l="5799" r="18813"/>
          <a:stretch>
            <a:fillRect/>
          </a:stretch>
        </p:blipFill>
        <p:spPr bwMode="auto">
          <a:xfrm flipH="1">
            <a:off x="228600" y="2743200"/>
            <a:ext cx="1524000" cy="13338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9"/>
          <p:cNvPicPr>
            <a:picLocks noChangeAspect="1" noChangeArrowheads="1"/>
          </p:cNvPicPr>
          <p:nvPr/>
        </p:nvPicPr>
        <p:blipFill>
          <a:blip r:embed="rId4" cstate="print"/>
          <a:srcRect l="11563" r="32932" b="27168"/>
          <a:stretch>
            <a:fillRect/>
          </a:stretch>
        </p:blipFill>
        <p:spPr bwMode="auto">
          <a:xfrm>
            <a:off x="228600" y="4267200"/>
            <a:ext cx="1567543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12" name="Straight Connector 11"/>
          <p:cNvCxnSpPr/>
          <p:nvPr/>
        </p:nvCxnSpPr>
        <p:spPr>
          <a:xfrm>
            <a:off x="2514600" y="2667000"/>
            <a:ext cx="64008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2514600" y="4191000"/>
            <a:ext cx="64008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NDOH Logo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52400" y="5867400"/>
            <a:ext cx="2286000" cy="824484"/>
          </a:xfrm>
          <a:prstGeom prst="rect">
            <a:avLst/>
          </a:prstGeom>
        </p:spPr>
      </p:pic>
      <p:cxnSp>
        <p:nvCxnSpPr>
          <p:cNvPr id="17" name="Straight Connector 16"/>
          <p:cNvCxnSpPr/>
          <p:nvPr/>
        </p:nvCxnSpPr>
        <p:spPr>
          <a:xfrm>
            <a:off x="0" y="5791200"/>
            <a:ext cx="9144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14600" y="1217612"/>
            <a:ext cx="6279018" cy="1325563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defRPr lang="en-US" sz="3600" kern="12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ZA" dirty="0"/>
              <a:t>[Insert title of meeting/event here]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485996" y="3207150"/>
            <a:ext cx="57912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[Insert name of presenter/unit here]</a:t>
            </a:r>
          </a:p>
        </p:txBody>
      </p:sp>
      <p:sp>
        <p:nvSpPr>
          <p:cNvPr id="19" name="Date Placeholder 1"/>
          <p:cNvSpPr>
            <a:spLocks noGrp="1"/>
          </p:cNvSpPr>
          <p:nvPr>
            <p:ph type="dt" sz="half" idx="10"/>
          </p:nvPr>
        </p:nvSpPr>
        <p:spPr>
          <a:xfrm>
            <a:off x="3923928" y="4669965"/>
            <a:ext cx="2808312" cy="365125"/>
          </a:xfrm>
          <a:prstGeom prst="rect">
            <a:avLst/>
          </a:prstGeom>
        </p:spPr>
        <p:txBody>
          <a:bodyPr/>
          <a:lstStyle>
            <a:lvl1pPr algn="ctr">
              <a:defRPr lang="en-US" sz="2000" kern="120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2E548F0-25AB-4D0C-9DD8-3BA9C1D1232D}" type="datetimeFigureOut">
              <a:rPr kumimoji="0" lang="en-US" sz="20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/21/2022</a:t>
            </a:fld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6670270"/>
      </p:ext>
    </p:extLst>
  </p:cSld>
  <p:clrMapOvr>
    <a:masterClrMapping/>
  </p:clrMapOvr>
  <p:hf hdr="0" ft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6463630" cy="543595"/>
          </a:xfrm>
          <a:prstGeom prst="rect">
            <a:avLst/>
          </a:prstGeom>
        </p:spPr>
        <p:txBody>
          <a:bodyPr/>
          <a:lstStyle>
            <a:lvl1pPr>
              <a:defRPr lang="en-US" sz="2800" b="1" kern="120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43808" y="6356349"/>
            <a:ext cx="30861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8119306" y="6356349"/>
            <a:ext cx="79208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7CBE16-C524-4E85-84FB-DE985D9DE1E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4426040"/>
      </p:ext>
    </p:extLst>
  </p:cSld>
  <p:clrMapOvr>
    <a:masterClrMapping/>
  </p:clrMapOvr>
  <p:hf hdr="0" ft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/>
        </p:nvCxnSpPr>
        <p:spPr>
          <a:xfrm>
            <a:off x="0" y="5791200"/>
            <a:ext cx="9144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6463630" cy="543595"/>
          </a:xfrm>
          <a:prstGeom prst="rect">
            <a:avLst/>
          </a:prstGeom>
        </p:spPr>
        <p:txBody>
          <a:bodyPr/>
          <a:lstStyle>
            <a:lvl1pPr>
              <a:defRPr lang="en-US" sz="2800" b="1" kern="120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8119306" y="6356349"/>
            <a:ext cx="79208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7CBE16-C524-4E85-84FB-DE985D9DE1E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81558607"/>
      </p:ext>
    </p:extLst>
  </p:cSld>
  <p:clrMapOvr>
    <a:masterClrMapping/>
  </p:clrMapOvr>
  <p:hf hdr="0" ft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 marL="0" algn="l" defTabSz="914400" rtl="0" eaLnBrk="1" latinLnBrk="0" hangingPunct="1">
              <a:spcBef>
                <a:spcPct val="0"/>
              </a:spcBef>
              <a:buNone/>
              <a:defRPr lang="en-US" sz="3600" kern="12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2551162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8119306" y="6356349"/>
            <a:ext cx="79208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7CBE16-C524-4E85-84FB-DE985D9DE1E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2382782"/>
      </p:ext>
    </p:extLst>
  </p:cSld>
  <p:clrMapOvr>
    <a:masterClrMapping/>
  </p:clrMapOvr>
  <p:hf hdr="0" ft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0618" y="260648"/>
            <a:ext cx="6535638" cy="543595"/>
          </a:xfrm>
          <a:prstGeom prst="rect">
            <a:avLst/>
          </a:prstGeom>
        </p:spPr>
        <p:txBody>
          <a:bodyPr/>
          <a:lstStyle>
            <a:lvl1pPr algn="l">
              <a:defRPr lang="en-US" sz="2800" b="1" kern="1200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7544" y="1196752"/>
            <a:ext cx="3867150" cy="4990684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96752"/>
            <a:ext cx="3867150" cy="4980211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699792" y="6356350"/>
            <a:ext cx="2808312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8119306" y="6356349"/>
            <a:ext cx="79208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7CBE16-C524-4E85-84FB-DE985D9DE1E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4118197"/>
      </p:ext>
    </p:extLst>
  </p:cSld>
  <p:clrMapOvr>
    <a:masterClrMapping/>
  </p:clrMapOvr>
  <p:hf hdr="0" ft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520" y="260648"/>
            <a:ext cx="6462042" cy="615603"/>
          </a:xfrm>
          <a:prstGeom prst="rect">
            <a:avLst/>
          </a:prstGeom>
        </p:spPr>
        <p:txBody>
          <a:bodyPr/>
          <a:lstStyle>
            <a:lvl1pPr>
              <a:defRPr lang="en-US" sz="2800" b="1" kern="120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buNone/>
              <a:defRPr lang="en-US" sz="2400" b="1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lang="en-US" sz="2400" b="1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2551162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Slide Number Placeholder 5"/>
          <p:cNvSpPr txBox="1">
            <a:spLocks/>
          </p:cNvSpPr>
          <p:nvPr/>
        </p:nvSpPr>
        <p:spPr>
          <a:xfrm>
            <a:off x="8119306" y="6356349"/>
            <a:ext cx="79208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7CBE16-C524-4E85-84FB-DE985D9DE1E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68342420"/>
      </p:ext>
    </p:extLst>
  </p:cSld>
  <p:clrMapOvr>
    <a:masterClrMapping/>
  </p:clrMapOvr>
  <p:hf hdr="0" ft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520" y="188641"/>
            <a:ext cx="6768752" cy="720080"/>
          </a:xfrm>
          <a:prstGeom prst="rect">
            <a:avLst/>
          </a:prstGeom>
        </p:spPr>
        <p:txBody>
          <a:bodyPr/>
          <a:lstStyle>
            <a:lvl1pPr>
              <a:defRPr sz="2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2E548F0-25AB-4D0C-9DD8-3BA9C1D1232D}" type="datetimeFigureOut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/21/2022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2551162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8119306" y="6356349"/>
            <a:ext cx="79208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7CBE16-C524-4E85-84FB-DE985D9DE1E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937015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6463630" cy="543595"/>
          </a:xfrm>
          <a:prstGeom prst="rect">
            <a:avLst/>
          </a:prstGeom>
        </p:spPr>
        <p:txBody>
          <a:bodyPr/>
          <a:lstStyle>
            <a:lvl1pPr>
              <a:defRPr lang="en-US" sz="2800" b="1" kern="120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43808" y="6356349"/>
            <a:ext cx="30861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8119306" y="6356349"/>
            <a:ext cx="79208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7CBE16-C524-4E85-84FB-DE985D9DE1E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9763583"/>
      </p:ext>
    </p:extLst>
  </p:cSld>
  <p:clrMapOvr>
    <a:masterClrMapping/>
  </p:clrMapOvr>
  <p:hf hdr="0" ft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2551162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Slide Number Placeholder 5"/>
          <p:cNvSpPr txBox="1">
            <a:spLocks/>
          </p:cNvSpPr>
          <p:nvPr/>
        </p:nvSpPr>
        <p:spPr>
          <a:xfrm>
            <a:off x="8119306" y="6356349"/>
            <a:ext cx="79208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7CBE16-C524-4E85-84FB-DE985D9DE1E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1588443"/>
      </p:ext>
    </p:extLst>
  </p:cSld>
  <p:clrMapOvr>
    <a:masterClrMapping/>
  </p:clrMapOvr>
  <p:hf hdr="0" ft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528" y="234950"/>
            <a:ext cx="6822082" cy="530225"/>
          </a:xfrm>
          <a:prstGeom prst="rect">
            <a:avLst/>
          </a:prstGeom>
        </p:spPr>
        <p:txBody>
          <a:bodyPr anchor="b"/>
          <a:lstStyle>
            <a:lvl1pPr>
              <a:defRPr sz="2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1061492"/>
            <a:ext cx="2949575" cy="467176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2551162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8119306" y="6356349"/>
            <a:ext cx="79208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7CBE16-C524-4E85-84FB-DE985D9DE1E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3887788" y="2060848"/>
            <a:ext cx="4629150" cy="3600400"/>
          </a:xfrm>
          <a:prstGeom prst="rect">
            <a:avLst/>
          </a:prstGeom>
        </p:spPr>
        <p:txBody>
          <a:bodyPr/>
          <a:lstStyle>
            <a:lvl1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87788" y="1061492"/>
            <a:ext cx="4629150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lang="en-US" sz="2400" b="1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24623245"/>
      </p:ext>
    </p:extLst>
  </p:cSld>
  <p:clrMapOvr>
    <a:masterClrMapping/>
  </p:clrMapOvr>
  <p:hf hdr="0" ft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528" y="234950"/>
            <a:ext cx="6822082" cy="530225"/>
          </a:xfrm>
          <a:prstGeom prst="rect">
            <a:avLst/>
          </a:prstGeom>
        </p:spPr>
        <p:txBody>
          <a:bodyPr anchor="b"/>
          <a:lstStyle>
            <a:lvl1pPr>
              <a:defRPr sz="2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788" y="1124744"/>
            <a:ext cx="4629150" cy="46085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1124744"/>
            <a:ext cx="2949575" cy="46085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2551162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8119306" y="6356349"/>
            <a:ext cx="79208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7CBE16-C524-4E85-84FB-DE985D9DE1E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3939805"/>
      </p:ext>
    </p:extLst>
  </p:cSld>
  <p:clrMapOvr>
    <a:masterClrMapping/>
  </p:clrMapOvr>
  <p:hf hdr="0" ft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520" y="188640"/>
            <a:ext cx="6391622" cy="759619"/>
          </a:xfrm>
          <a:prstGeom prst="rect">
            <a:avLst/>
          </a:prstGeom>
        </p:spPr>
        <p:txBody>
          <a:bodyPr/>
          <a:lstStyle>
            <a:lvl1pPr>
              <a:defRPr lang="en-US" sz="28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51520" y="1196752"/>
            <a:ext cx="8640960" cy="4608512"/>
          </a:xfrm>
          <a:prstGeom prst="rect">
            <a:avLst/>
          </a:prstGeom>
        </p:spPr>
        <p:txBody>
          <a:bodyPr vert="eaVert"/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2551162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8119306" y="6356349"/>
            <a:ext cx="79208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7CBE16-C524-4E85-84FB-DE985D9DE1E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75832062"/>
      </p:ext>
    </p:extLst>
  </p:cSld>
  <p:clrMapOvr>
    <a:masterClrMapping/>
  </p:clrMapOvr>
  <p:hf hdr="0" ft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1196751"/>
            <a:ext cx="1971675" cy="4464497"/>
          </a:xfrm>
          <a:prstGeom prst="rect">
            <a:avLst/>
          </a:prstGeom>
        </p:spPr>
        <p:txBody>
          <a:bodyPr vert="eaVert"/>
          <a:lstStyle>
            <a:lvl1pPr>
              <a:defRPr sz="24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196751"/>
            <a:ext cx="5762625" cy="4320481"/>
          </a:xfrm>
          <a:prstGeom prst="rect">
            <a:avLst/>
          </a:prstGeom>
        </p:spPr>
        <p:txBody>
          <a:bodyPr vert="eaVert"/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251520" y="188640"/>
            <a:ext cx="6391622" cy="759619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lang="en-US" sz="28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2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Click to edit Master title style</a:t>
            </a:r>
            <a:endParaRPr kumimoji="0" lang="en-ZA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2551162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8119306" y="6356349"/>
            <a:ext cx="79208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7CBE16-C524-4E85-84FB-DE985D9DE1E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2495760"/>
      </p:ext>
    </p:extLst>
  </p:cSld>
  <p:clrMapOvr>
    <a:masterClrMapping/>
  </p:clrMapOvr>
  <p:hf hdr="0" ftr="0" dt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/>
          <p:nvPr userDrawn="1"/>
        </p:nvCxnSpPr>
        <p:spPr>
          <a:xfrm>
            <a:off x="0" y="5791200"/>
            <a:ext cx="9144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5" descr="Phila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584825" y="5929313"/>
            <a:ext cx="1071563" cy="909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9" descr="Logo - NDP - Full colour.jpg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799263" y="5870575"/>
            <a:ext cx="1058862" cy="1058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67824767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0" y="5791200"/>
            <a:ext cx="9144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 descr="Phila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5584724" y="5929354"/>
            <a:ext cx="1071570" cy="910387"/>
          </a:xfrm>
          <a:prstGeom prst="rect">
            <a:avLst/>
          </a:prstGeom>
        </p:spPr>
      </p:pic>
      <p:pic>
        <p:nvPicPr>
          <p:cNvPr id="4" name="Picture 3" descr="Logo - NDP - Full colour.jp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6799170" y="5870484"/>
            <a:ext cx="1058978" cy="1058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938722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9144000" cy="11430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" name="Picture 1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5999"/>
          <a:stretch>
            <a:fillRect/>
          </a:stretch>
        </p:blipFill>
        <p:spPr bwMode="auto">
          <a:xfrm>
            <a:off x="228600" y="1219200"/>
            <a:ext cx="1524000" cy="1373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813" r="5798"/>
          <a:stretch>
            <a:fillRect/>
          </a:stretch>
        </p:blipFill>
        <p:spPr bwMode="auto">
          <a:xfrm>
            <a:off x="228600" y="2743200"/>
            <a:ext cx="1524000" cy="133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9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63" r="32932" b="27168"/>
          <a:stretch>
            <a:fillRect/>
          </a:stretch>
        </p:blipFill>
        <p:spPr bwMode="auto">
          <a:xfrm>
            <a:off x="228600" y="4267200"/>
            <a:ext cx="1566863" cy="137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Straight Connector 5"/>
          <p:cNvCxnSpPr/>
          <p:nvPr/>
        </p:nvCxnSpPr>
        <p:spPr>
          <a:xfrm>
            <a:off x="2514600" y="2667000"/>
            <a:ext cx="64008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/>
        </p:nvCxnSpPr>
        <p:spPr>
          <a:xfrm>
            <a:off x="2514600" y="4191000"/>
            <a:ext cx="64008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12" descr="NDOH Logo.jp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5867400"/>
            <a:ext cx="2286000" cy="823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" name="Straight Connector 8"/>
          <p:cNvCxnSpPr/>
          <p:nvPr/>
        </p:nvCxnSpPr>
        <p:spPr>
          <a:xfrm>
            <a:off x="0" y="5791200"/>
            <a:ext cx="9144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 userDrawn="1"/>
        </p:nvSpPr>
        <p:spPr>
          <a:xfrm>
            <a:off x="0" y="0"/>
            <a:ext cx="9144000" cy="11430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1" name="Picture 11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5999"/>
          <a:stretch>
            <a:fillRect/>
          </a:stretch>
        </p:blipFill>
        <p:spPr bwMode="auto">
          <a:xfrm>
            <a:off x="228600" y="1219200"/>
            <a:ext cx="1524000" cy="1373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7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813" r="5798"/>
          <a:stretch>
            <a:fillRect/>
          </a:stretch>
        </p:blipFill>
        <p:spPr bwMode="auto">
          <a:xfrm>
            <a:off x="228600" y="2743200"/>
            <a:ext cx="1524000" cy="133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9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63" r="32932" b="27168"/>
          <a:stretch>
            <a:fillRect/>
          </a:stretch>
        </p:blipFill>
        <p:spPr bwMode="auto">
          <a:xfrm>
            <a:off x="228600" y="4267200"/>
            <a:ext cx="1566863" cy="137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4" name="Straight Connector 13"/>
          <p:cNvCxnSpPr/>
          <p:nvPr userDrawn="1"/>
        </p:nvCxnSpPr>
        <p:spPr>
          <a:xfrm>
            <a:off x="2514600" y="2667000"/>
            <a:ext cx="64008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>
            <a:off x="2514600" y="4191000"/>
            <a:ext cx="64008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2" descr="NDOH Logo.jp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5867400"/>
            <a:ext cx="2286000" cy="823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7" name="Straight Connector 16"/>
          <p:cNvCxnSpPr/>
          <p:nvPr userDrawn="1"/>
        </p:nvCxnSpPr>
        <p:spPr>
          <a:xfrm>
            <a:off x="0" y="5791200"/>
            <a:ext cx="9144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2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72438" y="5815013"/>
            <a:ext cx="928687" cy="1042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1154352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F95C33E-24F2-452D-AE9F-D6633E523EED}" type="slidenum">
              <a:rPr kumimoji="0" lang="en-ZA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50825" y="1268416"/>
            <a:ext cx="8602663" cy="396875"/>
          </a:xfrm>
        </p:spPr>
        <p:txBody>
          <a:bodyPr>
            <a:normAutofit/>
          </a:bodyPr>
          <a:lstStyle>
            <a:lvl1pPr marL="0" indent="0">
              <a:buNone/>
              <a:defRPr sz="1505" b="0">
                <a:solidFill>
                  <a:schemeClr val="tx2"/>
                </a:solidFill>
              </a:defRPr>
            </a:lvl1pPr>
            <a:lvl2pPr marL="430042" indent="0">
              <a:buNone/>
              <a:defRPr/>
            </a:lvl2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8476050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/>
        </p:nvCxnSpPr>
        <p:spPr>
          <a:xfrm>
            <a:off x="0" y="5949280"/>
            <a:ext cx="9144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 userDrawn="1"/>
        </p:nvCxnSpPr>
        <p:spPr>
          <a:xfrm>
            <a:off x="2514600" y="2667000"/>
            <a:ext cx="64008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 userDrawn="1"/>
        </p:nvCxnSpPr>
        <p:spPr>
          <a:xfrm>
            <a:off x="2514600" y="4191000"/>
            <a:ext cx="64008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2514600" y="2852738"/>
            <a:ext cx="6400800" cy="122396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5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Edit Master text styles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9533851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/>
        </p:nvCxnSpPr>
        <p:spPr>
          <a:xfrm>
            <a:off x="0" y="5791200"/>
            <a:ext cx="9144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6463630" cy="543595"/>
          </a:xfrm>
          <a:prstGeom prst="rect">
            <a:avLst/>
          </a:prstGeom>
        </p:spPr>
        <p:txBody>
          <a:bodyPr/>
          <a:lstStyle>
            <a:lvl1pPr>
              <a:defRPr lang="en-US" sz="2800" b="1" kern="120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8119306" y="6356349"/>
            <a:ext cx="79208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7CBE16-C524-4E85-84FB-DE985D9DE1E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1486948"/>
      </p:ext>
    </p:extLst>
  </p:cSld>
  <p:clrMapOvr>
    <a:masterClrMapping/>
  </p:clrMapOvr>
  <p:hf hdr="0" ftr="0" dt="0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6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Verdana" panose="020B0604030504040204" pitchFamily="34" charset="0"/>
              <a:cs typeface="+mn-cs"/>
              <a:sym typeface="Calibri" panose="020F0502020204030204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58590" y="0"/>
            <a:ext cx="8555868" cy="1052736"/>
          </a:xfrm>
          <a:prstGeom prst="rect">
            <a:avLst/>
          </a:prstGeom>
        </p:spPr>
        <p:txBody>
          <a:bodyPr anchor="ctr"/>
          <a:lstStyle>
            <a:lvl1pPr algn="l">
              <a:defRPr sz="1800" b="1" u="sng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58292" y="1277840"/>
            <a:ext cx="8634487" cy="4672110"/>
          </a:xfrm>
          <a:prstGeom prst="rect">
            <a:avLst/>
          </a:prstGeom>
        </p:spPr>
        <p:txBody>
          <a:bodyPr/>
          <a:lstStyle>
            <a:lvl1pPr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57213" indent="-214313">
              <a:buFont typeface="Courier New" panose="02070309020205020404" pitchFamily="49" charset="0"/>
              <a:buChar char="o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925241" y="6026664"/>
            <a:ext cx="6211155" cy="6424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6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6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6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6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  <a:endParaRPr lang="en-ZA" dirty="0"/>
          </a:p>
        </p:txBody>
      </p:sp>
      <p:sp>
        <p:nvSpPr>
          <p:cNvPr id="7" name="Rectangle 26"/>
          <p:cNvSpPr txBox="1">
            <a:spLocks noChangeArrowheads="1"/>
          </p:cNvSpPr>
          <p:nvPr userDrawn="1"/>
        </p:nvSpPr>
        <p:spPr>
          <a:xfrm>
            <a:off x="8819964" y="6605736"/>
            <a:ext cx="324036" cy="252264"/>
          </a:xfrm>
          <a:prstGeom prst="rect">
            <a:avLst/>
          </a:prstGeom>
          <a:ln/>
        </p:spPr>
        <p:txBody>
          <a:bodyPr anchor="b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17EE79-33E5-4C4B-BAE3-E8DBEA3383C6}" type="slidenum">
              <a:rPr kumimoji="0" lang="en-ZA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ZA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4431186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685800"/>
            <a:fld id="{8406839F-D7A4-4E5D-B93D-768AD4D1DB36}" type="slidenum">
              <a:rPr lang="en-ZA" smtClean="0">
                <a:solidFill>
                  <a:srgbClr val="005D28"/>
                </a:solidFill>
              </a:rPr>
              <a:pPr defTabSz="685800"/>
              <a:t>‹#›</a:t>
            </a:fld>
            <a:endParaRPr lang="en-ZA">
              <a:solidFill>
                <a:srgbClr val="005D28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800"/>
            <a:endParaRPr lang="en-GB">
              <a:solidFill>
                <a:srgbClr val="9BBB59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6" y="1196754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74595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0" y="5791200"/>
            <a:ext cx="9144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 descr="Phila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5584724" y="5929354"/>
            <a:ext cx="1071570" cy="910387"/>
          </a:xfrm>
          <a:prstGeom prst="rect">
            <a:avLst/>
          </a:prstGeom>
        </p:spPr>
      </p:pic>
      <p:pic>
        <p:nvPicPr>
          <p:cNvPr id="4" name="Picture 3" descr="Logo - NDP - Full colour.jp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6799170" y="5870484"/>
            <a:ext cx="1058978" cy="1058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26192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 marL="0" algn="l" defTabSz="914400" rtl="0" eaLnBrk="1" latinLnBrk="0" hangingPunct="1">
              <a:spcBef>
                <a:spcPct val="0"/>
              </a:spcBef>
              <a:buNone/>
              <a:defRPr lang="en-US" sz="3600" kern="12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2551162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8119306" y="6356349"/>
            <a:ext cx="79208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7CBE16-C524-4E85-84FB-DE985D9DE1E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6834464"/>
      </p:ext>
    </p:extLst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0618" y="260648"/>
            <a:ext cx="6535638" cy="543595"/>
          </a:xfrm>
          <a:prstGeom prst="rect">
            <a:avLst/>
          </a:prstGeom>
        </p:spPr>
        <p:txBody>
          <a:bodyPr/>
          <a:lstStyle>
            <a:lvl1pPr algn="l">
              <a:defRPr lang="en-US" sz="2800" b="1" kern="1200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7544" y="1196752"/>
            <a:ext cx="3867150" cy="4990684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96752"/>
            <a:ext cx="3867150" cy="4980211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699792" y="6356350"/>
            <a:ext cx="2808312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8119306" y="6356349"/>
            <a:ext cx="79208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7CBE16-C524-4E85-84FB-DE985D9DE1E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3912965"/>
      </p:ext>
    </p:extLst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520" y="260648"/>
            <a:ext cx="6462042" cy="615603"/>
          </a:xfrm>
          <a:prstGeom prst="rect">
            <a:avLst/>
          </a:prstGeom>
        </p:spPr>
        <p:txBody>
          <a:bodyPr/>
          <a:lstStyle>
            <a:lvl1pPr>
              <a:defRPr lang="en-US" sz="2800" b="1" kern="120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buNone/>
              <a:defRPr lang="en-US" sz="2400" b="1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lang="en-US" sz="2400" b="1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2551162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Slide Number Placeholder 5"/>
          <p:cNvSpPr txBox="1">
            <a:spLocks/>
          </p:cNvSpPr>
          <p:nvPr/>
        </p:nvSpPr>
        <p:spPr>
          <a:xfrm>
            <a:off x="8119306" y="6356349"/>
            <a:ext cx="79208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7CBE16-C524-4E85-84FB-DE985D9DE1E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3775942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520" y="188641"/>
            <a:ext cx="6768752" cy="720080"/>
          </a:xfrm>
          <a:prstGeom prst="rect">
            <a:avLst/>
          </a:prstGeom>
        </p:spPr>
        <p:txBody>
          <a:bodyPr/>
          <a:lstStyle>
            <a:lvl1pPr>
              <a:defRPr sz="2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2E548F0-25AB-4D0C-9DD8-3BA9C1D1232D}" type="datetimeFigureOut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/21/2022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2551162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8119306" y="6356349"/>
            <a:ext cx="79208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7CBE16-C524-4E85-84FB-DE985D9DE1E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61446508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slideLayout" Target="../slideLayouts/slideLayout15.xml"/><Relationship Id="rId18" Type="http://schemas.openxmlformats.org/officeDocument/2006/relationships/image" Target="../media/image7.jpeg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12" Type="http://schemas.openxmlformats.org/officeDocument/2006/relationships/slideLayout" Target="../slideLayouts/slideLayout14.xml"/><Relationship Id="rId17" Type="http://schemas.openxmlformats.org/officeDocument/2006/relationships/image" Target="../media/image4.jpeg"/><Relationship Id="rId2" Type="http://schemas.openxmlformats.org/officeDocument/2006/relationships/slideLayout" Target="../slideLayouts/slideLayout4.xml"/><Relationship Id="rId16" Type="http://schemas.openxmlformats.org/officeDocument/2006/relationships/theme" Target="../theme/theme3.xml"/><Relationship Id="rId20" Type="http://schemas.openxmlformats.org/officeDocument/2006/relationships/image" Target="../media/image6.jpeg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5" Type="http://schemas.openxmlformats.org/officeDocument/2006/relationships/slideLayout" Target="../slideLayouts/slideLayout7.xml"/><Relationship Id="rId1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12.xml"/><Relationship Id="rId19" Type="http://schemas.openxmlformats.org/officeDocument/2006/relationships/image" Target="../media/image5.jpeg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4" Type="http://schemas.openxmlformats.org/officeDocument/2006/relationships/slideLayout" Target="../slideLayouts/slideLayout1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image" Target="../media/image7.jpeg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image" Target="../media/image4.jpeg"/><Relationship Id="rId2" Type="http://schemas.openxmlformats.org/officeDocument/2006/relationships/slideLayout" Target="../slideLayouts/slideLayout19.xml"/><Relationship Id="rId16" Type="http://schemas.openxmlformats.org/officeDocument/2006/relationships/theme" Target="../theme/theme4.xml"/><Relationship Id="rId20" Type="http://schemas.openxmlformats.org/officeDocument/2006/relationships/image" Target="../media/image6.jpeg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27.xml"/><Relationship Id="rId19" Type="http://schemas.openxmlformats.org/officeDocument/2006/relationships/image" Target="../media/image5.jpeg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slideLayout" Target="../slideLayouts/slideLayout45.xml"/><Relationship Id="rId18" Type="http://schemas.openxmlformats.org/officeDocument/2006/relationships/image" Target="../media/image4.jpeg"/><Relationship Id="rId3" Type="http://schemas.openxmlformats.org/officeDocument/2006/relationships/slideLayout" Target="../slideLayouts/slideLayout35.xml"/><Relationship Id="rId21" Type="http://schemas.openxmlformats.org/officeDocument/2006/relationships/image" Target="../media/image6.jpeg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17" Type="http://schemas.openxmlformats.org/officeDocument/2006/relationships/theme" Target="../theme/theme5.xml"/><Relationship Id="rId2" Type="http://schemas.openxmlformats.org/officeDocument/2006/relationships/slideLayout" Target="../slideLayouts/slideLayout34.xml"/><Relationship Id="rId16" Type="http://schemas.openxmlformats.org/officeDocument/2006/relationships/slideLayout" Target="../slideLayouts/slideLayout48.xml"/><Relationship Id="rId20" Type="http://schemas.openxmlformats.org/officeDocument/2006/relationships/image" Target="../media/image5.jpeg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5" Type="http://schemas.openxmlformats.org/officeDocument/2006/relationships/slideLayout" Target="../slideLayouts/slideLayout37.xml"/><Relationship Id="rId15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42.xml"/><Relationship Id="rId19" Type="http://schemas.openxmlformats.org/officeDocument/2006/relationships/image" Target="../media/image7.jpeg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slideLayout" Target="../slideLayouts/slideLayout46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emf"/><Relationship Id="rId3" Type="http://schemas.openxmlformats.org/officeDocument/2006/relationships/slideLayout" Target="../slideLayouts/slideLayout5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10" Type="http://schemas.openxmlformats.org/officeDocument/2006/relationships/image" Target="../media/image14.png"/><Relationship Id="rId4" Type="http://schemas.openxmlformats.org/officeDocument/2006/relationships/theme" Target="../theme/theme6.xml"/><Relationship Id="rId9" Type="http://schemas.openxmlformats.org/officeDocument/2006/relationships/image" Target="../media/image4.jpeg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theme" Target="../theme/theme7.xml"/><Relationship Id="rId1" Type="http://schemas.openxmlformats.org/officeDocument/2006/relationships/slideLayout" Target="../slideLayouts/slideLayout52.xml"/><Relationship Id="rId4" Type="http://schemas.openxmlformats.org/officeDocument/2006/relationships/image" Target="../media/image7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079DE21-5DAA-4204-B423-28510684095B}" type="slidenum">
              <a:rPr lang="en-ZA" smtClean="0"/>
              <a:pPr/>
              <a:t>‹#›</a:t>
            </a:fld>
            <a:endParaRPr lang="en-ZA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10668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NDOH Logo.jp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152400" y="5867400"/>
            <a:ext cx="2286000" cy="824484"/>
          </a:xfrm>
          <a:prstGeom prst="rect">
            <a:avLst/>
          </a:prstGeom>
        </p:spPr>
      </p:pic>
      <p:pic>
        <p:nvPicPr>
          <p:cNvPr id="9" name="Picture 11"/>
          <p:cNvPicPr>
            <a:picLocks noChangeAspect="1" noChangeArrowheads="1"/>
          </p:cNvPicPr>
          <p:nvPr userDrawn="1"/>
        </p:nvPicPr>
        <p:blipFill>
          <a:blip r:embed="rId4" cstate="print"/>
          <a:srcRect r="26000"/>
          <a:stretch>
            <a:fillRect/>
          </a:stretch>
        </p:blipFill>
        <p:spPr bwMode="auto">
          <a:xfrm>
            <a:off x="7341870" y="1"/>
            <a:ext cx="1184147" cy="10667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10668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" name="Picture 7" descr="NDOH Logo.jpg"/>
          <p:cNvPicPr>
            <a:picLocks noChangeAspect="1"/>
          </p:cNvPicPr>
          <p:nvPr/>
        </p:nvPicPr>
        <p:blipFill>
          <a:blip r:embed="rId17" cstate="print"/>
          <a:stretch>
            <a:fillRect/>
          </a:stretch>
        </p:blipFill>
        <p:spPr>
          <a:xfrm>
            <a:off x="152400" y="5867400"/>
            <a:ext cx="2286000" cy="824484"/>
          </a:xfrm>
          <a:prstGeom prst="rect">
            <a:avLst/>
          </a:prstGeom>
        </p:spPr>
      </p:pic>
      <p:pic>
        <p:nvPicPr>
          <p:cNvPr id="9" name="Picture 11"/>
          <p:cNvPicPr>
            <a:picLocks noChangeAspect="1" noChangeArrowheads="1"/>
          </p:cNvPicPr>
          <p:nvPr/>
        </p:nvPicPr>
        <p:blipFill>
          <a:blip r:embed="rId18" cstate="print"/>
          <a:srcRect r="26000"/>
          <a:stretch>
            <a:fillRect/>
          </a:stretch>
        </p:blipFill>
        <p:spPr bwMode="auto">
          <a:xfrm>
            <a:off x="7341870" y="1"/>
            <a:ext cx="1184147" cy="10667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4" descr="Phila.jpg"/>
          <p:cNvPicPr>
            <a:picLocks noChangeAspect="1"/>
          </p:cNvPicPr>
          <p:nvPr/>
        </p:nvPicPr>
        <p:blipFill>
          <a:blip r:embed="rId19" cstate="print"/>
          <a:stretch>
            <a:fillRect/>
          </a:stretch>
        </p:blipFill>
        <p:spPr>
          <a:xfrm>
            <a:off x="5652120" y="5877272"/>
            <a:ext cx="1071570" cy="910387"/>
          </a:xfrm>
          <a:prstGeom prst="rect">
            <a:avLst/>
          </a:prstGeom>
        </p:spPr>
      </p:pic>
      <p:pic>
        <p:nvPicPr>
          <p:cNvPr id="6" name="Picture 5" descr="Logo - NDP - Full colour.jpg"/>
          <p:cNvPicPr>
            <a:picLocks noChangeAspect="1"/>
          </p:cNvPicPr>
          <p:nvPr/>
        </p:nvPicPr>
        <p:blipFill>
          <a:blip r:embed="rId20" cstate="print"/>
          <a:stretch>
            <a:fillRect/>
          </a:stretch>
        </p:blipFill>
        <p:spPr>
          <a:xfrm>
            <a:off x="6874965" y="5805264"/>
            <a:ext cx="1058978" cy="1058978"/>
          </a:xfrm>
          <a:prstGeom prst="rect">
            <a:avLst/>
          </a:prstGeom>
        </p:spPr>
      </p:pic>
      <p:cxnSp>
        <p:nvCxnSpPr>
          <p:cNvPr id="11" name="Straight Connector 10"/>
          <p:cNvCxnSpPr/>
          <p:nvPr/>
        </p:nvCxnSpPr>
        <p:spPr>
          <a:xfrm>
            <a:off x="0" y="5791200"/>
            <a:ext cx="9144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923728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58" r:id="rId2"/>
    <p:sldLayoutId id="2147483659" r:id="rId3"/>
    <p:sldLayoutId id="2147483660" r:id="rId4"/>
    <p:sldLayoutId id="2147483661" r:id="rId5"/>
    <p:sldLayoutId id="2147483662" r:id="rId6"/>
    <p:sldLayoutId id="2147483663" r:id="rId7"/>
    <p:sldLayoutId id="2147483664" r:id="rId8"/>
    <p:sldLayoutId id="2147483665" r:id="rId9"/>
    <p:sldLayoutId id="2147483666" r:id="rId10"/>
    <p:sldLayoutId id="2147483667" r:id="rId11"/>
    <p:sldLayoutId id="2147483668" r:id="rId12"/>
    <p:sldLayoutId id="2147483669" r:id="rId13"/>
    <p:sldLayoutId id="2147483670" r:id="rId14"/>
    <p:sldLayoutId id="2147483671" r:id="rId15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10668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" name="Picture 7" descr="NDOH Logo.jpg"/>
          <p:cNvPicPr>
            <a:picLocks noChangeAspect="1"/>
          </p:cNvPicPr>
          <p:nvPr/>
        </p:nvPicPr>
        <p:blipFill>
          <a:blip r:embed="rId17" cstate="print"/>
          <a:stretch>
            <a:fillRect/>
          </a:stretch>
        </p:blipFill>
        <p:spPr>
          <a:xfrm>
            <a:off x="152400" y="5867400"/>
            <a:ext cx="2286000" cy="824484"/>
          </a:xfrm>
          <a:prstGeom prst="rect">
            <a:avLst/>
          </a:prstGeom>
        </p:spPr>
      </p:pic>
      <p:pic>
        <p:nvPicPr>
          <p:cNvPr id="9" name="Picture 11"/>
          <p:cNvPicPr>
            <a:picLocks noChangeAspect="1" noChangeArrowheads="1"/>
          </p:cNvPicPr>
          <p:nvPr/>
        </p:nvPicPr>
        <p:blipFill>
          <a:blip r:embed="rId18" cstate="print"/>
          <a:srcRect r="26000"/>
          <a:stretch>
            <a:fillRect/>
          </a:stretch>
        </p:blipFill>
        <p:spPr bwMode="auto">
          <a:xfrm>
            <a:off x="7341870" y="1"/>
            <a:ext cx="1184147" cy="10667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4" descr="Phila.jpg"/>
          <p:cNvPicPr>
            <a:picLocks noChangeAspect="1"/>
          </p:cNvPicPr>
          <p:nvPr/>
        </p:nvPicPr>
        <p:blipFill>
          <a:blip r:embed="rId19" cstate="print"/>
          <a:stretch>
            <a:fillRect/>
          </a:stretch>
        </p:blipFill>
        <p:spPr>
          <a:xfrm>
            <a:off x="5652120" y="5877272"/>
            <a:ext cx="1071570" cy="910387"/>
          </a:xfrm>
          <a:prstGeom prst="rect">
            <a:avLst/>
          </a:prstGeom>
        </p:spPr>
      </p:pic>
      <p:pic>
        <p:nvPicPr>
          <p:cNvPr id="6" name="Picture 5" descr="Logo - NDP - Full colour.jpg"/>
          <p:cNvPicPr>
            <a:picLocks noChangeAspect="1"/>
          </p:cNvPicPr>
          <p:nvPr/>
        </p:nvPicPr>
        <p:blipFill>
          <a:blip r:embed="rId20" cstate="print"/>
          <a:stretch>
            <a:fillRect/>
          </a:stretch>
        </p:blipFill>
        <p:spPr>
          <a:xfrm>
            <a:off x="6874965" y="5805264"/>
            <a:ext cx="1058978" cy="1058978"/>
          </a:xfrm>
          <a:prstGeom prst="rect">
            <a:avLst/>
          </a:prstGeom>
        </p:spPr>
      </p:pic>
      <p:cxnSp>
        <p:nvCxnSpPr>
          <p:cNvPr id="11" name="Straight Connector 10"/>
          <p:cNvCxnSpPr/>
          <p:nvPr/>
        </p:nvCxnSpPr>
        <p:spPr>
          <a:xfrm>
            <a:off x="0" y="5791200"/>
            <a:ext cx="9144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065435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  <p:sldLayoutId id="2147483686" r:id="rId13"/>
    <p:sldLayoutId id="2147483687" r:id="rId14"/>
    <p:sldLayoutId id="2147483688" r:id="rId15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10668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" name="Picture 7" descr="NDOH Logo.jpg"/>
          <p:cNvPicPr>
            <a:picLocks noChangeAspect="1"/>
          </p:cNvPicPr>
          <p:nvPr/>
        </p:nvPicPr>
        <p:blipFill>
          <a:blip r:embed="rId18" cstate="print"/>
          <a:stretch>
            <a:fillRect/>
          </a:stretch>
        </p:blipFill>
        <p:spPr>
          <a:xfrm>
            <a:off x="152400" y="5867400"/>
            <a:ext cx="2286000" cy="824484"/>
          </a:xfrm>
          <a:prstGeom prst="rect">
            <a:avLst/>
          </a:prstGeom>
        </p:spPr>
      </p:pic>
      <p:pic>
        <p:nvPicPr>
          <p:cNvPr id="9" name="Picture 11"/>
          <p:cNvPicPr>
            <a:picLocks noChangeAspect="1" noChangeArrowheads="1"/>
          </p:cNvPicPr>
          <p:nvPr/>
        </p:nvPicPr>
        <p:blipFill>
          <a:blip r:embed="rId19" cstate="print"/>
          <a:srcRect r="26000"/>
          <a:stretch>
            <a:fillRect/>
          </a:stretch>
        </p:blipFill>
        <p:spPr bwMode="auto">
          <a:xfrm>
            <a:off x="7341870" y="1"/>
            <a:ext cx="1184147" cy="10667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4" descr="Phila.jpg"/>
          <p:cNvPicPr>
            <a:picLocks noChangeAspect="1"/>
          </p:cNvPicPr>
          <p:nvPr/>
        </p:nvPicPr>
        <p:blipFill>
          <a:blip r:embed="rId20" cstate="print"/>
          <a:stretch>
            <a:fillRect/>
          </a:stretch>
        </p:blipFill>
        <p:spPr>
          <a:xfrm>
            <a:off x="5652120" y="5877272"/>
            <a:ext cx="1071570" cy="910387"/>
          </a:xfrm>
          <a:prstGeom prst="rect">
            <a:avLst/>
          </a:prstGeom>
        </p:spPr>
      </p:pic>
      <p:pic>
        <p:nvPicPr>
          <p:cNvPr id="6" name="Picture 5" descr="Logo - NDP - Full colour.jpg"/>
          <p:cNvPicPr>
            <a:picLocks noChangeAspect="1"/>
          </p:cNvPicPr>
          <p:nvPr/>
        </p:nvPicPr>
        <p:blipFill>
          <a:blip r:embed="rId21" cstate="print"/>
          <a:stretch>
            <a:fillRect/>
          </a:stretch>
        </p:blipFill>
        <p:spPr>
          <a:xfrm>
            <a:off x="6874965" y="5805264"/>
            <a:ext cx="1058978" cy="1058978"/>
          </a:xfrm>
          <a:prstGeom prst="rect">
            <a:avLst/>
          </a:prstGeom>
        </p:spPr>
      </p:pic>
      <p:cxnSp>
        <p:nvCxnSpPr>
          <p:cNvPr id="11" name="Straight Connector 10"/>
          <p:cNvCxnSpPr/>
          <p:nvPr/>
        </p:nvCxnSpPr>
        <p:spPr>
          <a:xfrm>
            <a:off x="0" y="5791200"/>
            <a:ext cx="9144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971753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  <p:sldLayoutId id="2147483698" r:id="rId9"/>
    <p:sldLayoutId id="2147483699" r:id="rId10"/>
    <p:sldLayoutId id="2147483700" r:id="rId11"/>
    <p:sldLayoutId id="2147483701" r:id="rId12"/>
    <p:sldLayoutId id="2147483702" r:id="rId13"/>
    <p:sldLayoutId id="2147483703" r:id="rId14"/>
    <p:sldLayoutId id="2147483704" r:id="rId15"/>
    <p:sldLayoutId id="2147483705" r:id="rId16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2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>
          <a:xfrm>
            <a:off x="0" y="0"/>
            <a:ext cx="9144000" cy="10668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" name="Picture 7" descr="NDOH Logo.jpg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359533" y="6080006"/>
            <a:ext cx="1296144" cy="633600"/>
          </a:xfrm>
          <a:prstGeom prst="rect">
            <a:avLst/>
          </a:prstGeom>
        </p:spPr>
      </p:pic>
      <p:cxnSp>
        <p:nvCxnSpPr>
          <p:cNvPr id="15" name="Straight Connector 14"/>
          <p:cNvCxnSpPr/>
          <p:nvPr userDrawn="1"/>
        </p:nvCxnSpPr>
        <p:spPr>
          <a:xfrm>
            <a:off x="0" y="5949280"/>
            <a:ext cx="9144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10"/>
          <a:srcRect t="6042" b="4962"/>
          <a:stretch/>
        </p:blipFill>
        <p:spPr>
          <a:xfrm>
            <a:off x="8028384" y="6080006"/>
            <a:ext cx="808319" cy="678963"/>
          </a:xfrm>
          <a:prstGeom prst="rect">
            <a:avLst/>
          </a:prstGeom>
        </p:spPr>
      </p:pic>
      <p:sp>
        <p:nvSpPr>
          <p:cNvPr id="10" name="Rectangle 2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8819964" y="6605736"/>
            <a:ext cx="324036" cy="252264"/>
          </a:xfrm>
          <a:prstGeom prst="rect">
            <a:avLst/>
          </a:prstGeom>
          <a:ln/>
        </p:spPr>
        <p:txBody>
          <a:bodyPr anchor="b"/>
          <a:lstStyle>
            <a:lvl1pPr algn="r">
              <a:defRPr sz="900"/>
            </a:lvl1pPr>
          </a:lstStyle>
          <a:p>
            <a:pPr defTabSz="685800"/>
            <a:fld id="{2017EE79-33E5-4C4B-BAE3-E8DBEA3383C6}" type="slidenum">
              <a:rPr lang="en-ZA" smtClean="0">
                <a:solidFill>
                  <a:prstClr val="black"/>
                </a:solidFill>
              </a:rPr>
              <a:pPr defTabSz="685800"/>
              <a:t>‹#›</a:t>
            </a:fld>
            <a:endParaRPr lang="en-ZA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03237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10" r:id="rId3"/>
  </p:sldLayoutIdLst>
  <p:hf hdr="0" ftr="0" dt="0"/>
  <p:txStyles>
    <p:titleStyle>
      <a:lvl1pPr algn="ctr" defTabSz="685800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6858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defTabSz="685800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11">
          <p15:clr>
            <a:srgbClr val="F26B43"/>
          </p15:clr>
        </p15:guide>
        <p15:guide id="4" pos="7469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3748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10668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" name="Picture 7" descr="NDOH Logo.jp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152400" y="5867400"/>
            <a:ext cx="2286000" cy="824484"/>
          </a:xfrm>
          <a:prstGeom prst="rect">
            <a:avLst/>
          </a:prstGeom>
        </p:spPr>
      </p:pic>
      <p:pic>
        <p:nvPicPr>
          <p:cNvPr id="9" name="Picture 11"/>
          <p:cNvPicPr>
            <a:picLocks noChangeAspect="1" noChangeArrowheads="1"/>
          </p:cNvPicPr>
          <p:nvPr userDrawn="1"/>
        </p:nvPicPr>
        <p:blipFill>
          <a:blip r:embed="rId4" cstate="print"/>
          <a:srcRect r="26000"/>
          <a:stretch>
            <a:fillRect/>
          </a:stretch>
        </p:blipFill>
        <p:spPr bwMode="auto">
          <a:xfrm>
            <a:off x="7341870" y="1"/>
            <a:ext cx="1184147" cy="10667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4579650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</p:sldLayoutIdLst>
  <p:hf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Layout" Target="../slideLayouts/slideLayout15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Layout" Target="../slideLayouts/slideLayout15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slideLayout" Target="../slideLayouts/slideLayout15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Layout" Target="../slideLayouts/slideLayout15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emf"/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slideLayout" Target="../slideLayouts/slideLayout15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slideLayout" Target="../slideLayouts/slideLayout15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emf"/><Relationship Id="rId1" Type="http://schemas.openxmlformats.org/officeDocument/2006/relationships/slideLayout" Target="../slideLayouts/slideLayout15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Layout" Target="../slideLayouts/slideLayout15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emf"/><Relationship Id="rId1" Type="http://schemas.openxmlformats.org/officeDocument/2006/relationships/slideLayout" Target="../slideLayouts/slideLayout15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emf"/><Relationship Id="rId1" Type="http://schemas.openxmlformats.org/officeDocument/2006/relationships/slideLayout" Target="../slideLayouts/slideLayout15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emf"/><Relationship Id="rId1" Type="http://schemas.openxmlformats.org/officeDocument/2006/relationships/slideLayout" Target="../slideLayouts/slideLayout15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1899371" y="4465568"/>
            <a:ext cx="6993109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smtClean="0">
                <a:solidFill>
                  <a:srgbClr val="0033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r</a:t>
            </a:r>
            <a:r>
              <a:rPr lang="en-US" sz="2000" dirty="0" smtClean="0">
                <a:solidFill>
                  <a:srgbClr val="0033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2000" dirty="0">
                <a:solidFill>
                  <a:srgbClr val="0033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SS Buthelezi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dirty="0">
                <a:solidFill>
                  <a:srgbClr val="0033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irector General 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dirty="0">
                <a:solidFill>
                  <a:srgbClr val="0033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ational Department of Health</a:t>
            </a:r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>
          <a:xfrm>
            <a:off x="509723" y="71357"/>
            <a:ext cx="8110538" cy="928688"/>
          </a:xfrm>
          <a:prstGeom prst="rect">
            <a:avLst/>
          </a:prstGeom>
        </p:spPr>
        <p:txBody>
          <a:bodyPr anchor="b">
            <a:normAutofit/>
          </a:bodyPr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endParaRPr lang="en-GB" sz="28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+mj-ea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871047" y="3156248"/>
            <a:ext cx="6993109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>
                <a:solidFill>
                  <a:srgbClr val="0033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2 April 2022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59C7AB7-3E79-4DCF-80E3-24D77D43ED3D}"/>
              </a:ext>
            </a:extLst>
          </p:cNvPr>
          <p:cNvSpPr txBox="1"/>
          <p:nvPr/>
        </p:nvSpPr>
        <p:spPr>
          <a:xfrm>
            <a:off x="509723" y="304017"/>
            <a:ext cx="960072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BRIEFING TO THE PORTFOLIO COMMITTEE ON HEALTH</a:t>
            </a:r>
          </a:p>
          <a:p>
            <a:endParaRPr lang="en-ZA" sz="3200" b="1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F294EEF-7285-4CD6-B83B-A79F7434A3C8}"/>
              </a:ext>
            </a:extLst>
          </p:cNvPr>
          <p:cNvSpPr txBox="1"/>
          <p:nvPr/>
        </p:nvSpPr>
        <p:spPr>
          <a:xfrm>
            <a:off x="2267744" y="1716758"/>
            <a:ext cx="6376194" cy="12311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2800" b="1" dirty="0" smtClean="0"/>
              <a:t>National Department of Health</a:t>
            </a:r>
          </a:p>
          <a:p>
            <a:pPr algn="ctr"/>
            <a:r>
              <a:rPr lang="en-ZA" sz="2800" b="1" dirty="0" smtClean="0"/>
              <a:t>Annual </a:t>
            </a:r>
            <a:r>
              <a:rPr lang="en-ZA" sz="2800" b="1" dirty="0"/>
              <a:t>Performance Plan 2022/23</a:t>
            </a:r>
          </a:p>
          <a:p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96835922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66248E-75B1-458B-A6F0-FC1CB06A63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1560" y="0"/>
            <a:ext cx="6463630" cy="543595"/>
          </a:xfrm>
        </p:spPr>
        <p:txBody>
          <a:bodyPr/>
          <a:lstStyle/>
          <a:p>
            <a:r>
              <a:rPr lang="en-ZA" sz="3200" dirty="0"/>
              <a:t>Programme 3: Communicable and Non Communicable Diseas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4E39462-333A-40D1-9B45-D22B9ED0015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1052736"/>
            <a:ext cx="8856984" cy="4495799"/>
          </a:xfrm>
        </p:spPr>
        <p:txBody>
          <a:bodyPr/>
          <a:lstStyle/>
          <a:p>
            <a:pPr marL="0" indent="0" algn="ctr">
              <a:buNone/>
            </a:pPr>
            <a:r>
              <a:rPr lang="en-GB" sz="2800" dirty="0"/>
              <a:t>The programme </a:t>
            </a:r>
            <a:r>
              <a:rPr lang="en-GB" sz="2800" b="1" dirty="0">
                <a:solidFill>
                  <a:schemeClr val="accent3"/>
                </a:solidFill>
              </a:rPr>
              <a:t>develops and supports the implementation </a:t>
            </a:r>
            <a:r>
              <a:rPr lang="en-GB" sz="2800" dirty="0"/>
              <a:t>of national policies, guidelines, norms and standards, and achievement of targets for the national response needed to </a:t>
            </a:r>
            <a:r>
              <a:rPr lang="en-GB" sz="2800" b="1" dirty="0">
                <a:solidFill>
                  <a:schemeClr val="accent3"/>
                </a:solidFill>
              </a:rPr>
              <a:t>decrease morbidity and mortality</a:t>
            </a:r>
            <a:r>
              <a:rPr lang="en-GB" sz="2800" b="1" dirty="0"/>
              <a:t> </a:t>
            </a:r>
            <a:r>
              <a:rPr lang="en-GB" sz="2800" dirty="0"/>
              <a:t>associated with </a:t>
            </a:r>
            <a:r>
              <a:rPr lang="en-GB" sz="2800" b="1" dirty="0">
                <a:solidFill>
                  <a:schemeClr val="accent3"/>
                </a:solidFill>
              </a:rPr>
              <a:t>communicable diseases </a:t>
            </a:r>
            <a:r>
              <a:rPr lang="en-GB" sz="2800" dirty="0"/>
              <a:t>(HIV, Tuberculosis, Malaria, Influenza and others) and </a:t>
            </a:r>
            <a:r>
              <a:rPr lang="en-GB" sz="2800" b="1" dirty="0">
                <a:solidFill>
                  <a:schemeClr val="accent3"/>
                </a:solidFill>
              </a:rPr>
              <a:t>non-communicable diseases </a:t>
            </a:r>
            <a:r>
              <a:rPr lang="en-GB" sz="2800" dirty="0"/>
              <a:t>(mental health; cancer, hypertension, diabetes and others). It is also responsible to develop strategies and implement programmes that </a:t>
            </a:r>
            <a:r>
              <a:rPr lang="en-GB" sz="2800" b="1" dirty="0">
                <a:solidFill>
                  <a:schemeClr val="accent3"/>
                </a:solidFill>
              </a:rPr>
              <a:t>reduces Maternal and Child Mortality</a:t>
            </a:r>
            <a:r>
              <a:rPr lang="en-GB" sz="2800" dirty="0"/>
              <a:t>.</a:t>
            </a:r>
            <a:endParaRPr lang="en-US" sz="2800" dirty="0"/>
          </a:p>
          <a:p>
            <a:pPr marL="0" indent="0">
              <a:buNone/>
            </a:pPr>
            <a:endParaRPr lang="en-ZA" sz="2800" dirty="0"/>
          </a:p>
        </p:txBody>
      </p:sp>
    </p:spTree>
    <p:extLst>
      <p:ext uri="{BB962C8B-B14F-4D97-AF65-F5344CB8AC3E}">
        <p14:creationId xmlns:p14="http://schemas.microsoft.com/office/powerpoint/2010/main" val="365382520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E4298AAE-E9C8-41B1-85D9-BB0A857C682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20926059"/>
              </p:ext>
            </p:extLst>
          </p:nvPr>
        </p:nvGraphicFramePr>
        <p:xfrm>
          <a:off x="251520" y="1060355"/>
          <a:ext cx="8424938" cy="473729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081166">
                  <a:extLst>
                    <a:ext uri="{9D8B030D-6E8A-4147-A177-3AD203B41FA5}">
                      <a16:colId xmlns:a16="http://schemas.microsoft.com/office/drawing/2014/main" val="2270940587"/>
                    </a:ext>
                  </a:extLst>
                </a:gridCol>
                <a:gridCol w="1223962">
                  <a:extLst>
                    <a:ext uri="{9D8B030D-6E8A-4147-A177-3AD203B41FA5}">
                      <a16:colId xmlns:a16="http://schemas.microsoft.com/office/drawing/2014/main" val="699228783"/>
                    </a:ext>
                  </a:extLst>
                </a:gridCol>
                <a:gridCol w="1223962">
                  <a:extLst>
                    <a:ext uri="{9D8B030D-6E8A-4147-A177-3AD203B41FA5}">
                      <a16:colId xmlns:a16="http://schemas.microsoft.com/office/drawing/2014/main" val="1129905075"/>
                    </a:ext>
                  </a:extLst>
                </a:gridCol>
                <a:gridCol w="1223962">
                  <a:extLst>
                    <a:ext uri="{9D8B030D-6E8A-4147-A177-3AD203B41FA5}">
                      <a16:colId xmlns:a16="http://schemas.microsoft.com/office/drawing/2014/main" val="1451099684"/>
                    </a:ext>
                  </a:extLst>
                </a:gridCol>
                <a:gridCol w="1223962">
                  <a:extLst>
                    <a:ext uri="{9D8B030D-6E8A-4147-A177-3AD203B41FA5}">
                      <a16:colId xmlns:a16="http://schemas.microsoft.com/office/drawing/2014/main" val="2361683877"/>
                    </a:ext>
                  </a:extLst>
                </a:gridCol>
                <a:gridCol w="1223962">
                  <a:extLst>
                    <a:ext uri="{9D8B030D-6E8A-4147-A177-3AD203B41FA5}">
                      <a16:colId xmlns:a16="http://schemas.microsoft.com/office/drawing/2014/main" val="1355610197"/>
                    </a:ext>
                  </a:extLst>
                </a:gridCol>
                <a:gridCol w="1223962">
                  <a:extLst>
                    <a:ext uri="{9D8B030D-6E8A-4147-A177-3AD203B41FA5}">
                      <a16:colId xmlns:a16="http://schemas.microsoft.com/office/drawing/2014/main" val="3030224932"/>
                    </a:ext>
                  </a:extLst>
                </a:gridCol>
              </a:tblGrid>
              <a:tr h="519101">
                <a:tc rowSpan="2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 Nova" panose="020B0504020202020204" pitchFamily="34" charset="0"/>
                        </a:rPr>
                        <a:t>Outcom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 Nova" panose="020B0504020202020204" pitchFamily="34" charset="0"/>
                        </a:rPr>
                        <a:t>Outpu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 Nova" panose="020B0504020202020204" pitchFamily="34" charset="0"/>
                        </a:rPr>
                        <a:t>Output Indicator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b="1" dirty="0"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Estimated Performance</a:t>
                      </a: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b="1" dirty="0"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2021/22</a:t>
                      </a:r>
                      <a:endParaRPr lang="en-US" sz="1100" dirty="0">
                        <a:effectLst/>
                        <a:latin typeface="Arial Nova" panose="020B0504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 Nova" panose="020B0504020202020204" pitchFamily="34" charset="0"/>
                        </a:rPr>
                        <a:t>MTEF Target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06251596"/>
                  </a:ext>
                </a:extLst>
              </a:tr>
              <a:tr h="495557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b="1" kern="1200" dirty="0">
                          <a:solidFill>
                            <a:schemeClr val="lt1"/>
                          </a:solidFill>
                          <a:effectLst/>
                          <a:latin typeface="Arial Nova" panose="020B0504020202020204" pitchFamily="34" charset="0"/>
                          <a:cs typeface="Times New Roman" panose="02020603050405020304" pitchFamily="18" charset="0"/>
                        </a:rPr>
                        <a:t>Annual Target 2022/23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b="1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2023/24</a:t>
                      </a:r>
                      <a:endParaRPr lang="en-US" sz="11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Arial Nova" panose="020B0504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b="1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2024/2025</a:t>
                      </a:r>
                      <a:endParaRPr lang="en-US" sz="11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Arial Nova" panose="020B0504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8272784"/>
                  </a:ext>
                </a:extLst>
              </a:tr>
              <a:tr h="92955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9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0:90:90 targets for HIV AIDS achieved by 2020 and 95:95:95 targets by 2024/25</a:t>
                      </a:r>
                      <a:endParaRPr lang="en-US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5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Facilities offering HIV Self Screening (HIVSS)</a:t>
                      </a:r>
                      <a:endParaRPr lang="en-US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9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umber of facilities offering </a:t>
                      </a:r>
                      <a:r>
                        <a:rPr lang="en-US" sz="105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HIV Self Screening</a:t>
                      </a:r>
                      <a:endParaRPr lang="en-US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9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t Applicable</a:t>
                      </a:r>
                      <a:endParaRPr lang="en-US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9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0 facilities offering </a:t>
                      </a:r>
                      <a:r>
                        <a:rPr lang="en-US" sz="105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HIV Self Screening</a:t>
                      </a:r>
                      <a:endParaRPr lang="en-US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9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40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9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80</a:t>
                      </a:r>
                      <a:endParaRPr lang="en-US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98857576"/>
                  </a:ext>
                </a:extLst>
              </a:tr>
              <a:tr h="864096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9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0:90:90 targets for HIV AIDS achieved by 2020 and 95:95:95 targets by 2024/26</a:t>
                      </a:r>
                      <a:endParaRPr lang="en-US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5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en's health services piloted 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9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en's health services piloted in 10 facilities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9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t applicable</a:t>
                      </a:r>
                      <a:endParaRPr lang="en-US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9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en's health services piloted in 10 facilities</a:t>
                      </a:r>
                      <a:endParaRPr lang="en-US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9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 Facilities providing men's health services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9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0 Facilities providing men's health services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69677233"/>
                  </a:ext>
                </a:extLst>
              </a:tr>
              <a:tr h="72008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9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HIV incidence among youth reduced</a:t>
                      </a:r>
                      <a:endParaRPr lang="en-US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9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HC facilities with youth zones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9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umber of PHC facilities with youth zones</a:t>
                      </a:r>
                      <a:endParaRPr lang="en-US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9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600 PHC facilities with youth zones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9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00 PHC facilities with youth zones</a:t>
                      </a:r>
                      <a:endParaRPr lang="en-US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9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400 PHC facilities with youth zones</a:t>
                      </a:r>
                      <a:endParaRPr lang="en-US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9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500 PHC facilities with youth zones</a:t>
                      </a:r>
                      <a:endParaRPr lang="en-US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7036030"/>
                  </a:ext>
                </a:extLst>
              </a:tr>
              <a:tr h="120889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9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ignificant progress made towards ending TB by 2035 through improving prevention and treatment strategies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9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mproved drug-susceptible (DS) - TB treatment adherence 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9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rug-susceptible (DS) - TB Treatment Success Rate</a:t>
                      </a:r>
                      <a:endParaRPr lang="en-US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9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0%</a:t>
                      </a:r>
                      <a:endParaRPr lang="en-US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9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5%</a:t>
                      </a:r>
                      <a:endParaRPr lang="en-US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9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0%</a:t>
                      </a:r>
                      <a:endParaRPr lang="en-US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9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5%</a:t>
                      </a:r>
                      <a:endParaRPr lang="en-US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7298351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DB6AD525-3603-4E08-AFBB-44D1659EC1DB}"/>
              </a:ext>
            </a:extLst>
          </p:cNvPr>
          <p:cNvSpPr txBox="1"/>
          <p:nvPr/>
        </p:nvSpPr>
        <p:spPr>
          <a:xfrm>
            <a:off x="-324544" y="188640"/>
            <a:ext cx="6993109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</a:t>
            </a:r>
            <a:r>
              <a:rPr lang="en-US" sz="2400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gramme</a:t>
            </a:r>
            <a:r>
              <a:rPr lang="en-US" sz="24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3:Communicable and non-communicable diseases</a:t>
            </a:r>
            <a:endParaRPr lang="en-US" sz="16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15539933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E4298AAE-E9C8-41B1-85D9-BB0A857C682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9432025"/>
              </p:ext>
            </p:extLst>
          </p:nvPr>
        </p:nvGraphicFramePr>
        <p:xfrm>
          <a:off x="179512" y="1196752"/>
          <a:ext cx="8712971" cy="4595824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118129">
                  <a:extLst>
                    <a:ext uri="{9D8B030D-6E8A-4147-A177-3AD203B41FA5}">
                      <a16:colId xmlns:a16="http://schemas.microsoft.com/office/drawing/2014/main" val="2270940587"/>
                    </a:ext>
                  </a:extLst>
                </a:gridCol>
                <a:gridCol w="1265807">
                  <a:extLst>
                    <a:ext uri="{9D8B030D-6E8A-4147-A177-3AD203B41FA5}">
                      <a16:colId xmlns:a16="http://schemas.microsoft.com/office/drawing/2014/main" val="699228783"/>
                    </a:ext>
                  </a:extLst>
                </a:gridCol>
                <a:gridCol w="1265807">
                  <a:extLst>
                    <a:ext uri="{9D8B030D-6E8A-4147-A177-3AD203B41FA5}">
                      <a16:colId xmlns:a16="http://schemas.microsoft.com/office/drawing/2014/main" val="1129905075"/>
                    </a:ext>
                  </a:extLst>
                </a:gridCol>
                <a:gridCol w="1265807">
                  <a:extLst>
                    <a:ext uri="{9D8B030D-6E8A-4147-A177-3AD203B41FA5}">
                      <a16:colId xmlns:a16="http://schemas.microsoft.com/office/drawing/2014/main" val="1451099684"/>
                    </a:ext>
                  </a:extLst>
                </a:gridCol>
                <a:gridCol w="1265807">
                  <a:extLst>
                    <a:ext uri="{9D8B030D-6E8A-4147-A177-3AD203B41FA5}">
                      <a16:colId xmlns:a16="http://schemas.microsoft.com/office/drawing/2014/main" val="2361683877"/>
                    </a:ext>
                  </a:extLst>
                </a:gridCol>
                <a:gridCol w="1265807">
                  <a:extLst>
                    <a:ext uri="{9D8B030D-6E8A-4147-A177-3AD203B41FA5}">
                      <a16:colId xmlns:a16="http://schemas.microsoft.com/office/drawing/2014/main" val="1355610197"/>
                    </a:ext>
                  </a:extLst>
                </a:gridCol>
                <a:gridCol w="1265807">
                  <a:extLst>
                    <a:ext uri="{9D8B030D-6E8A-4147-A177-3AD203B41FA5}">
                      <a16:colId xmlns:a16="http://schemas.microsoft.com/office/drawing/2014/main" val="3030224932"/>
                    </a:ext>
                  </a:extLst>
                </a:gridCol>
              </a:tblGrid>
              <a:tr h="519101">
                <a:tc rowSpan="2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 Nova" panose="020B0504020202020204" pitchFamily="34" charset="0"/>
                        </a:rPr>
                        <a:t>Outcom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 Nova" panose="020B0504020202020204" pitchFamily="34" charset="0"/>
                        </a:rPr>
                        <a:t>Outpu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 Nova" panose="020B0504020202020204" pitchFamily="34" charset="0"/>
                        </a:rPr>
                        <a:t>Output Indicator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b="1" dirty="0"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Estimated Performance</a:t>
                      </a: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b="1" dirty="0"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2021/22</a:t>
                      </a:r>
                      <a:endParaRPr lang="en-US" sz="1100" dirty="0">
                        <a:effectLst/>
                        <a:latin typeface="Arial Nova" panose="020B0504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 Nova" panose="020B0504020202020204" pitchFamily="34" charset="0"/>
                        </a:rPr>
                        <a:t>MTEF Target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06251596"/>
                  </a:ext>
                </a:extLst>
              </a:tr>
              <a:tr h="495557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b="1" kern="1200" dirty="0">
                          <a:solidFill>
                            <a:schemeClr val="lt1"/>
                          </a:solidFill>
                          <a:effectLst/>
                          <a:latin typeface="Arial Nova" panose="020B0504020202020204" pitchFamily="34" charset="0"/>
                          <a:cs typeface="Times New Roman" panose="02020603050405020304" pitchFamily="18" charset="0"/>
                        </a:rPr>
                        <a:t>Annual Target 2022/23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b="1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2023/24</a:t>
                      </a:r>
                      <a:endParaRPr lang="en-US" sz="11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Arial Nova" panose="020B0504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b="1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2024/2025</a:t>
                      </a:r>
                      <a:endParaRPr lang="en-US" sz="11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Arial Nova" panose="020B0504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8272784"/>
                  </a:ext>
                </a:extLst>
              </a:tr>
              <a:tr h="1034665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9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ignificant progress </a:t>
                      </a:r>
                      <a:br>
                        <a:rPr lang="en-US" sz="9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</a:br>
                      <a:r>
                        <a:rPr lang="en-US" sz="9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ade towards </a:t>
                      </a:r>
                      <a:br>
                        <a:rPr lang="en-US" sz="9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</a:br>
                      <a:r>
                        <a:rPr lang="en-US" sz="9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nding TB by 2035 </a:t>
                      </a:r>
                      <a:br>
                        <a:rPr lang="en-US" sz="9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</a:br>
                      <a:r>
                        <a:rPr lang="en-US" sz="9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hrough improving </a:t>
                      </a:r>
                      <a:br>
                        <a:rPr lang="en-US" sz="9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</a:br>
                      <a:r>
                        <a:rPr lang="en-US" sz="9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revention and </a:t>
                      </a:r>
                      <a:br>
                        <a:rPr lang="en-US" sz="9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</a:br>
                      <a:r>
                        <a:rPr lang="en-US" sz="9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reatment strategies</a:t>
                      </a:r>
                      <a:endParaRPr lang="en-US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9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educe the number of drug susceptible (DS)-TB deaths</a:t>
                      </a:r>
                      <a:endParaRPr lang="en-US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9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umber of drug susceptible (DS)-TB Deaths</a:t>
                      </a:r>
                      <a:endParaRPr lang="en-US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9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4853</a:t>
                      </a:r>
                      <a:endParaRPr lang="en-US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9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381</a:t>
                      </a:r>
                      <a:endParaRPr lang="en-US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9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980</a:t>
                      </a:r>
                      <a:endParaRPr lang="en-US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9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510</a:t>
                      </a:r>
                      <a:endParaRPr lang="en-US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98857576"/>
                  </a:ext>
                </a:extLst>
              </a:tr>
              <a:tr h="68698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9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rogressive improvement in the total life expectancy of South Africans</a:t>
                      </a:r>
                      <a:endParaRPr lang="en-US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9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ind and Treat people with TB disease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9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umber of people started on TB treatment</a:t>
                      </a:r>
                      <a:endParaRPr lang="en-US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9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90 000</a:t>
                      </a:r>
                      <a:endParaRPr lang="en-US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9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21 900</a:t>
                      </a:r>
                      <a:endParaRPr lang="en-US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9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23 654</a:t>
                      </a:r>
                      <a:endParaRPr lang="en-US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9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20 837</a:t>
                      </a:r>
                      <a:endParaRPr lang="en-US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69677233"/>
                  </a:ext>
                </a:extLst>
              </a:tr>
              <a:tr h="975013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9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aternal, Child, Infant and neonatal mortalities reduced 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9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ystem for annual audit of cold chain capacity developed and introduced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9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eport produced on Cold chain capacity in all depots, sub-depots and 50% of public sector hospitals </a:t>
                      </a:r>
                      <a:endParaRPr lang="en-US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9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ew Indicator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9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eport on Cold chain capacity in all depots, sub-depots and 50% of public sector hospitals approved by Director General</a:t>
                      </a:r>
                      <a:endParaRPr lang="en-US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9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eport produced on Cold chain capacity at all depots, sub-depots, hospitals and 30% of PHC facilities</a:t>
                      </a:r>
                      <a:endParaRPr lang="en-US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9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eport produced on Cold chain capacity at all depots, sub-depots, hospitals and 75% of PHC facilities</a:t>
                      </a:r>
                      <a:endParaRPr lang="en-US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7036030"/>
                  </a:ext>
                </a:extLst>
              </a:tr>
              <a:tr h="884507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9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aternal, Child, Infant and neonatal mortalities reduced 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9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ide-by-Side campaign radio shows which promote all components of child health and nutrition broadcast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9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umber of episodes broadcast during third season of Side-by-Side radio shows</a:t>
                      </a:r>
                      <a:endParaRPr lang="en-US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9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t Applicable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9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6 episodes broadcasted on 10 radio stations</a:t>
                      </a:r>
                      <a:endParaRPr lang="en-US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9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t Applicable</a:t>
                      </a:r>
                      <a:endParaRPr lang="en-US" sz="105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9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t Applicable</a:t>
                      </a:r>
                      <a:endParaRPr lang="en-US" sz="105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7298351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DB6AD525-3603-4E08-AFBB-44D1659EC1DB}"/>
              </a:ext>
            </a:extLst>
          </p:cNvPr>
          <p:cNvSpPr txBox="1"/>
          <p:nvPr/>
        </p:nvSpPr>
        <p:spPr>
          <a:xfrm>
            <a:off x="-324544" y="188640"/>
            <a:ext cx="6993109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</a:t>
            </a:r>
            <a:r>
              <a:rPr lang="en-US" sz="2400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gramme</a:t>
            </a:r>
            <a:r>
              <a:rPr lang="en-US" sz="24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3:Communicable and non-communicable diseases</a:t>
            </a:r>
            <a:endParaRPr lang="en-US" sz="16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99887240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E4298AAE-E9C8-41B1-85D9-BB0A857C682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3288019"/>
              </p:ext>
            </p:extLst>
          </p:nvPr>
        </p:nvGraphicFramePr>
        <p:xfrm>
          <a:off x="179512" y="1049096"/>
          <a:ext cx="8784978" cy="4930211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127370">
                  <a:extLst>
                    <a:ext uri="{9D8B030D-6E8A-4147-A177-3AD203B41FA5}">
                      <a16:colId xmlns:a16="http://schemas.microsoft.com/office/drawing/2014/main" val="2270940587"/>
                    </a:ext>
                  </a:extLst>
                </a:gridCol>
                <a:gridCol w="1276268">
                  <a:extLst>
                    <a:ext uri="{9D8B030D-6E8A-4147-A177-3AD203B41FA5}">
                      <a16:colId xmlns:a16="http://schemas.microsoft.com/office/drawing/2014/main" val="699228783"/>
                    </a:ext>
                  </a:extLst>
                </a:gridCol>
                <a:gridCol w="1276268">
                  <a:extLst>
                    <a:ext uri="{9D8B030D-6E8A-4147-A177-3AD203B41FA5}">
                      <a16:colId xmlns:a16="http://schemas.microsoft.com/office/drawing/2014/main" val="1129905075"/>
                    </a:ext>
                  </a:extLst>
                </a:gridCol>
                <a:gridCol w="1276268">
                  <a:extLst>
                    <a:ext uri="{9D8B030D-6E8A-4147-A177-3AD203B41FA5}">
                      <a16:colId xmlns:a16="http://schemas.microsoft.com/office/drawing/2014/main" val="1451099684"/>
                    </a:ext>
                  </a:extLst>
                </a:gridCol>
                <a:gridCol w="1276268">
                  <a:extLst>
                    <a:ext uri="{9D8B030D-6E8A-4147-A177-3AD203B41FA5}">
                      <a16:colId xmlns:a16="http://schemas.microsoft.com/office/drawing/2014/main" val="2361683877"/>
                    </a:ext>
                  </a:extLst>
                </a:gridCol>
                <a:gridCol w="1276268">
                  <a:extLst>
                    <a:ext uri="{9D8B030D-6E8A-4147-A177-3AD203B41FA5}">
                      <a16:colId xmlns:a16="http://schemas.microsoft.com/office/drawing/2014/main" val="1355610197"/>
                    </a:ext>
                  </a:extLst>
                </a:gridCol>
                <a:gridCol w="1276268">
                  <a:extLst>
                    <a:ext uri="{9D8B030D-6E8A-4147-A177-3AD203B41FA5}">
                      <a16:colId xmlns:a16="http://schemas.microsoft.com/office/drawing/2014/main" val="3030224932"/>
                    </a:ext>
                  </a:extLst>
                </a:gridCol>
              </a:tblGrid>
              <a:tr h="519101">
                <a:tc rowSpan="2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 Nova" panose="020B0504020202020204" pitchFamily="34" charset="0"/>
                        </a:rPr>
                        <a:t>Outcom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 Nova" panose="020B0504020202020204" pitchFamily="34" charset="0"/>
                        </a:rPr>
                        <a:t>Outpu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 Nova" panose="020B0504020202020204" pitchFamily="34" charset="0"/>
                        </a:rPr>
                        <a:t>Output Indicator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b="1" dirty="0"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Estimated Performance</a:t>
                      </a: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b="1" dirty="0"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2021/22</a:t>
                      </a:r>
                      <a:endParaRPr lang="en-US" sz="1100" dirty="0">
                        <a:effectLst/>
                        <a:latin typeface="Arial Nova" panose="020B0504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 Nova" panose="020B0504020202020204" pitchFamily="34" charset="0"/>
                        </a:rPr>
                        <a:t>MTEF Target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06251596"/>
                  </a:ext>
                </a:extLst>
              </a:tr>
              <a:tr h="420643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b="1" kern="1200" dirty="0">
                          <a:solidFill>
                            <a:schemeClr val="lt1"/>
                          </a:solidFill>
                          <a:effectLst/>
                          <a:latin typeface="Arial Nova" panose="020B0504020202020204" pitchFamily="34" charset="0"/>
                          <a:cs typeface="Times New Roman" panose="02020603050405020304" pitchFamily="18" charset="0"/>
                        </a:rPr>
                        <a:t>Annual Target 2022/23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b="1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2023/24</a:t>
                      </a:r>
                      <a:endParaRPr lang="en-US" sz="11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Arial Nova" panose="020B0504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b="1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2024/2025</a:t>
                      </a:r>
                      <a:endParaRPr lang="en-US" sz="11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Arial Nova" panose="020B0504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8272784"/>
                  </a:ext>
                </a:extLst>
              </a:tr>
              <a:tr h="111516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aternal, Child, Infant and neonatal mortalities reduced 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egular quarterly review of progress in achieving key national and provincial Child, Youth and School Health (CYSH) targets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umber of quarterly review meetings focusing on performance against key CYSH targets held with provincial CYSH managers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ew Indicator</a:t>
                      </a:r>
                    </a:p>
                  </a:txBody>
                  <a:tcPr marL="17780" marR="177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our quarterly review meetings focusing on performance against key CYSH targets held with provincial CYSH managers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ontinue review meetings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ontinue review meetings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98857576"/>
                  </a:ext>
                </a:extLst>
              </a:tr>
              <a:tr h="120889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aternal, Child, Infant and neonatal mortalities reduced 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egular quarterly review of progress in achieving key national and provincial women maternal and reproductive (WMRH) health targets 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umber of quarterly review meetings focusing on performance against key WMRH targets held with provincial WMRH managers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ew Indicator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our quarterly review meetings focusing on performance against key WMRH targets held with provincial WMRH managers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ontinue review meetings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ontinue review meetings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69677233"/>
                  </a:ext>
                </a:extLst>
              </a:tr>
              <a:tr h="111516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aternal, Child, Infant and neonatal mortalities reduced 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egular monitoring of Sexual and Reproductive Health (SRH) curriculum modules enrollment and completion rate through the knowledge hub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umber of clinicians who enrolled in SRH modules focusing on maternal, neonatal and reproductive health modules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ew indicator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00 clinicians who completed one of the SRH module online.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ontinue </a:t>
                      </a: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nrollment of clinicians for training on SRH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ontinue enrollment of clinicians for training on SRH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7036030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DB6AD525-3603-4E08-AFBB-44D1659EC1DB}"/>
              </a:ext>
            </a:extLst>
          </p:cNvPr>
          <p:cNvSpPr txBox="1"/>
          <p:nvPr/>
        </p:nvSpPr>
        <p:spPr>
          <a:xfrm>
            <a:off x="-324544" y="188640"/>
            <a:ext cx="6993109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</a:t>
            </a:r>
            <a:r>
              <a:rPr lang="en-US" sz="2400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gramme</a:t>
            </a:r>
            <a:r>
              <a:rPr lang="en-US" sz="24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3:Communicable and non-communicable diseases</a:t>
            </a:r>
            <a:endParaRPr lang="en-US" sz="16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98302084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E4298AAE-E9C8-41B1-85D9-BB0A857C682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12155182"/>
              </p:ext>
            </p:extLst>
          </p:nvPr>
        </p:nvGraphicFramePr>
        <p:xfrm>
          <a:off x="179511" y="1268760"/>
          <a:ext cx="8784978" cy="4453892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127370">
                  <a:extLst>
                    <a:ext uri="{9D8B030D-6E8A-4147-A177-3AD203B41FA5}">
                      <a16:colId xmlns:a16="http://schemas.microsoft.com/office/drawing/2014/main" val="2270940587"/>
                    </a:ext>
                  </a:extLst>
                </a:gridCol>
                <a:gridCol w="1276268">
                  <a:extLst>
                    <a:ext uri="{9D8B030D-6E8A-4147-A177-3AD203B41FA5}">
                      <a16:colId xmlns:a16="http://schemas.microsoft.com/office/drawing/2014/main" val="699228783"/>
                    </a:ext>
                  </a:extLst>
                </a:gridCol>
                <a:gridCol w="1276268">
                  <a:extLst>
                    <a:ext uri="{9D8B030D-6E8A-4147-A177-3AD203B41FA5}">
                      <a16:colId xmlns:a16="http://schemas.microsoft.com/office/drawing/2014/main" val="1129905075"/>
                    </a:ext>
                  </a:extLst>
                </a:gridCol>
                <a:gridCol w="1276268">
                  <a:extLst>
                    <a:ext uri="{9D8B030D-6E8A-4147-A177-3AD203B41FA5}">
                      <a16:colId xmlns:a16="http://schemas.microsoft.com/office/drawing/2014/main" val="1451099684"/>
                    </a:ext>
                  </a:extLst>
                </a:gridCol>
                <a:gridCol w="1276268">
                  <a:extLst>
                    <a:ext uri="{9D8B030D-6E8A-4147-A177-3AD203B41FA5}">
                      <a16:colId xmlns:a16="http://schemas.microsoft.com/office/drawing/2014/main" val="2361683877"/>
                    </a:ext>
                  </a:extLst>
                </a:gridCol>
                <a:gridCol w="1276268">
                  <a:extLst>
                    <a:ext uri="{9D8B030D-6E8A-4147-A177-3AD203B41FA5}">
                      <a16:colId xmlns:a16="http://schemas.microsoft.com/office/drawing/2014/main" val="1355610197"/>
                    </a:ext>
                  </a:extLst>
                </a:gridCol>
                <a:gridCol w="1276268">
                  <a:extLst>
                    <a:ext uri="{9D8B030D-6E8A-4147-A177-3AD203B41FA5}">
                      <a16:colId xmlns:a16="http://schemas.microsoft.com/office/drawing/2014/main" val="3030224932"/>
                    </a:ext>
                  </a:extLst>
                </a:gridCol>
              </a:tblGrid>
              <a:tr h="519101">
                <a:tc rowSpan="2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 Nova" panose="020B0504020202020204" pitchFamily="34" charset="0"/>
                        </a:rPr>
                        <a:t>Outcom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 Nova" panose="020B0504020202020204" pitchFamily="34" charset="0"/>
                        </a:rPr>
                        <a:t>Outpu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 Nova" panose="020B0504020202020204" pitchFamily="34" charset="0"/>
                        </a:rPr>
                        <a:t>Output Indicator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b="1" dirty="0"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Estimated Performance</a:t>
                      </a: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b="1" dirty="0"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2021/22</a:t>
                      </a:r>
                      <a:endParaRPr lang="en-US" sz="1100" dirty="0">
                        <a:effectLst/>
                        <a:latin typeface="Arial Nova" panose="020B0504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 Nova" panose="020B0504020202020204" pitchFamily="34" charset="0"/>
                        </a:rPr>
                        <a:t>MTEF Target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06251596"/>
                  </a:ext>
                </a:extLst>
              </a:tr>
              <a:tr h="495557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b="1" kern="1200" dirty="0">
                          <a:solidFill>
                            <a:schemeClr val="lt1"/>
                          </a:solidFill>
                          <a:effectLst/>
                          <a:latin typeface="Arial Nova" panose="020B0504020202020204" pitchFamily="34" charset="0"/>
                          <a:cs typeface="Times New Roman" panose="02020603050405020304" pitchFamily="18" charset="0"/>
                        </a:rPr>
                        <a:t>Annual Target 2022/23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b="1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2023/24</a:t>
                      </a:r>
                      <a:endParaRPr lang="en-US" sz="11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Arial Nova" panose="020B0504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b="1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2024/2025</a:t>
                      </a:r>
                      <a:endParaRPr lang="en-US" sz="11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Arial Nova" panose="020B0504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8272784"/>
                  </a:ext>
                </a:extLst>
              </a:tr>
              <a:tr h="111516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orbidity and Mortality due to Covid-19 reduced 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roportion of adults 50 years and older vaccinated against Covid-19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roportion of adults 50 years and older vaccinated against Covid-19 (at least one dose)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5% of adults 50 years and older vaccinated against Covid-19 (at least one dose)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5% of adults 50 years and older vaccinated against Covid-19 (at least one dose)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t Applicable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t Applicable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98857576"/>
                  </a:ext>
                </a:extLst>
              </a:tr>
              <a:tr h="120889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orbidity and Mortality due to Covid-19 reduced  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roportion of adults 35 - 49 years vaccinated against Covid-19 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roportion of adults 35-49 years vaccinated against Covid-19 (at least one dose)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2% of adults 35 - 49 years vaccinated against Covid-19 (at least one dose)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5% of adults 35 - 49 years vaccinated against Covid-19 (at least one dose)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t Applicable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t Applicable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69677233"/>
                  </a:ext>
                </a:extLst>
              </a:tr>
              <a:tr h="111516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orbidity and Mortality due to Covid-19 reduced  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roportion of young people (12 to 34 years) vaccinated against Covid-19 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roportion of young people (12 - 34 years) vaccinated against Covid-19 (at least one dose).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0% of young people (12 - 34 years) vaccinated against Covid-19 (at least one dose)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0% of young people (12 - 34 years) vaccinated against Covid-19 (at least one dose)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t Applicable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t Applicable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7036030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DB6AD525-3603-4E08-AFBB-44D1659EC1DB}"/>
              </a:ext>
            </a:extLst>
          </p:cNvPr>
          <p:cNvSpPr txBox="1"/>
          <p:nvPr/>
        </p:nvSpPr>
        <p:spPr>
          <a:xfrm>
            <a:off x="-324544" y="188640"/>
            <a:ext cx="6993109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</a:t>
            </a:r>
            <a:r>
              <a:rPr lang="en-US" sz="2400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gramme</a:t>
            </a:r>
            <a:r>
              <a:rPr lang="en-US" sz="24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3:Communicable and non-communicable diseases</a:t>
            </a:r>
            <a:endParaRPr lang="en-US" sz="16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99888176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E4298AAE-E9C8-41B1-85D9-BB0A857C682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2740494"/>
              </p:ext>
            </p:extLst>
          </p:nvPr>
        </p:nvGraphicFramePr>
        <p:xfrm>
          <a:off x="179512" y="1240340"/>
          <a:ext cx="8784978" cy="4230571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127370">
                  <a:extLst>
                    <a:ext uri="{9D8B030D-6E8A-4147-A177-3AD203B41FA5}">
                      <a16:colId xmlns:a16="http://schemas.microsoft.com/office/drawing/2014/main" val="2270940587"/>
                    </a:ext>
                  </a:extLst>
                </a:gridCol>
                <a:gridCol w="1276268">
                  <a:extLst>
                    <a:ext uri="{9D8B030D-6E8A-4147-A177-3AD203B41FA5}">
                      <a16:colId xmlns:a16="http://schemas.microsoft.com/office/drawing/2014/main" val="699228783"/>
                    </a:ext>
                  </a:extLst>
                </a:gridCol>
                <a:gridCol w="1276268">
                  <a:extLst>
                    <a:ext uri="{9D8B030D-6E8A-4147-A177-3AD203B41FA5}">
                      <a16:colId xmlns:a16="http://schemas.microsoft.com/office/drawing/2014/main" val="1129905075"/>
                    </a:ext>
                  </a:extLst>
                </a:gridCol>
                <a:gridCol w="1276268">
                  <a:extLst>
                    <a:ext uri="{9D8B030D-6E8A-4147-A177-3AD203B41FA5}">
                      <a16:colId xmlns:a16="http://schemas.microsoft.com/office/drawing/2014/main" val="1451099684"/>
                    </a:ext>
                  </a:extLst>
                </a:gridCol>
                <a:gridCol w="1276268">
                  <a:extLst>
                    <a:ext uri="{9D8B030D-6E8A-4147-A177-3AD203B41FA5}">
                      <a16:colId xmlns:a16="http://schemas.microsoft.com/office/drawing/2014/main" val="2361683877"/>
                    </a:ext>
                  </a:extLst>
                </a:gridCol>
                <a:gridCol w="1276268">
                  <a:extLst>
                    <a:ext uri="{9D8B030D-6E8A-4147-A177-3AD203B41FA5}">
                      <a16:colId xmlns:a16="http://schemas.microsoft.com/office/drawing/2014/main" val="1355610197"/>
                    </a:ext>
                  </a:extLst>
                </a:gridCol>
                <a:gridCol w="1276268">
                  <a:extLst>
                    <a:ext uri="{9D8B030D-6E8A-4147-A177-3AD203B41FA5}">
                      <a16:colId xmlns:a16="http://schemas.microsoft.com/office/drawing/2014/main" val="3030224932"/>
                    </a:ext>
                  </a:extLst>
                </a:gridCol>
              </a:tblGrid>
              <a:tr h="519101">
                <a:tc rowSpan="2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 Nova" panose="020B0504020202020204" pitchFamily="34" charset="0"/>
                        </a:rPr>
                        <a:t>Outcom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 Nova" panose="020B0504020202020204" pitchFamily="34" charset="0"/>
                        </a:rPr>
                        <a:t>Outpu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 Nova" panose="020B0504020202020204" pitchFamily="34" charset="0"/>
                        </a:rPr>
                        <a:t>Output Indicator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b="1" dirty="0"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Estimated Performance</a:t>
                      </a: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b="1" dirty="0"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2021/22</a:t>
                      </a:r>
                      <a:endParaRPr lang="en-US" sz="1100" dirty="0">
                        <a:effectLst/>
                        <a:latin typeface="Arial Nova" panose="020B0504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 Nova" panose="020B0504020202020204" pitchFamily="34" charset="0"/>
                        </a:rPr>
                        <a:t>MTEF Target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06251596"/>
                  </a:ext>
                </a:extLst>
              </a:tr>
              <a:tr h="495557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b="1" kern="1200" dirty="0">
                          <a:solidFill>
                            <a:schemeClr val="lt1"/>
                          </a:solidFill>
                          <a:effectLst/>
                          <a:latin typeface="Arial Nova" panose="020B0504020202020204" pitchFamily="34" charset="0"/>
                          <a:cs typeface="Times New Roman" panose="02020603050405020304" pitchFamily="18" charset="0"/>
                        </a:rPr>
                        <a:t>Annual Target 2022/23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b="1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2023/24</a:t>
                      </a:r>
                      <a:endParaRPr lang="en-US" sz="11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Arial Nova" panose="020B0504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b="1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2024/2025</a:t>
                      </a:r>
                      <a:endParaRPr lang="en-US" sz="11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Arial Nova" panose="020B0504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8272784"/>
                  </a:ext>
                </a:extLst>
              </a:tr>
              <a:tr h="111516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aternal, Child, Infant and neonatal mortalities reduced 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9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chool attending children (SAC) in schistosomiasis endemic districts who received schistosomiasis preventive chemotherapy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9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chool Mass drug administration of schistosomiasis preventive chemotherapy according to the approved plan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9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t Applicable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9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chistosomiasis Mass Drug Implementation Plan in place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9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0% of </a:t>
                      </a:r>
                      <a:r>
                        <a:rPr lang="en-US" sz="9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chool attending children (SAC) in schistosomiasis endemic districts receive schistosomiasis preventive chemotherapy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9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0% of school attending children (SAC) in schistosomiasis endemic districts receive schistosomiasis preventive chemotherapy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98857576"/>
                  </a:ext>
                </a:extLst>
              </a:tr>
              <a:tr h="934123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orbidity and Mortality due to malaria reduced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argetted subdistricts reporting zero malaria cases 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roportion of sub-districts with an incidence &lt;1 per 1000 malaria cases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t Applicable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2 targeted  subdistricts reporting zero local malaria cases 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onitoring implementation of the NSP 2019-2023 and the FOCI clearing programme 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 subdistricts implementing the Foci clearing </a:t>
                      </a:r>
                      <a:r>
                        <a:rPr lang="en-US" sz="10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rogramme</a:t>
                      </a: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69677233"/>
                  </a:ext>
                </a:extLst>
              </a:tr>
              <a:tr h="111516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remature mortality due to NCDs reduced to 26% (10% reduction)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Provinces progress reports on the implementation  of provincial plans on the NSP for NCDS 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umber of provincial progress reports on the implementation of provincial plans on the NSP for NCDS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SP for NCDs developed and published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 provinces progress reports on the implementation of provincial plans on the NSP for NCDS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onitor implementation of 9 plans with ongoing review and response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onitor implementation of 9 plans with ongoing review and response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7036030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DB6AD525-3603-4E08-AFBB-44D1659EC1DB}"/>
              </a:ext>
            </a:extLst>
          </p:cNvPr>
          <p:cNvSpPr txBox="1"/>
          <p:nvPr/>
        </p:nvSpPr>
        <p:spPr>
          <a:xfrm>
            <a:off x="-324544" y="188640"/>
            <a:ext cx="6993109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</a:t>
            </a:r>
            <a:r>
              <a:rPr lang="en-US" sz="2400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gramme</a:t>
            </a:r>
            <a:r>
              <a:rPr lang="en-US" sz="24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3:Communicable and non-communicable diseases</a:t>
            </a:r>
            <a:endParaRPr lang="en-US" sz="16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88310836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E4298AAE-E9C8-41B1-85D9-BB0A857C682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68364764"/>
              </p:ext>
            </p:extLst>
          </p:nvPr>
        </p:nvGraphicFramePr>
        <p:xfrm>
          <a:off x="143508" y="1171039"/>
          <a:ext cx="8856984" cy="4515921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136610">
                  <a:extLst>
                    <a:ext uri="{9D8B030D-6E8A-4147-A177-3AD203B41FA5}">
                      <a16:colId xmlns:a16="http://schemas.microsoft.com/office/drawing/2014/main" val="2270940587"/>
                    </a:ext>
                  </a:extLst>
                </a:gridCol>
                <a:gridCol w="1286729">
                  <a:extLst>
                    <a:ext uri="{9D8B030D-6E8A-4147-A177-3AD203B41FA5}">
                      <a16:colId xmlns:a16="http://schemas.microsoft.com/office/drawing/2014/main" val="699228783"/>
                    </a:ext>
                  </a:extLst>
                </a:gridCol>
                <a:gridCol w="1286729">
                  <a:extLst>
                    <a:ext uri="{9D8B030D-6E8A-4147-A177-3AD203B41FA5}">
                      <a16:colId xmlns:a16="http://schemas.microsoft.com/office/drawing/2014/main" val="1129905075"/>
                    </a:ext>
                  </a:extLst>
                </a:gridCol>
                <a:gridCol w="1286729">
                  <a:extLst>
                    <a:ext uri="{9D8B030D-6E8A-4147-A177-3AD203B41FA5}">
                      <a16:colId xmlns:a16="http://schemas.microsoft.com/office/drawing/2014/main" val="1451099684"/>
                    </a:ext>
                  </a:extLst>
                </a:gridCol>
                <a:gridCol w="1286729">
                  <a:extLst>
                    <a:ext uri="{9D8B030D-6E8A-4147-A177-3AD203B41FA5}">
                      <a16:colId xmlns:a16="http://schemas.microsoft.com/office/drawing/2014/main" val="2361683877"/>
                    </a:ext>
                  </a:extLst>
                </a:gridCol>
                <a:gridCol w="1286729">
                  <a:extLst>
                    <a:ext uri="{9D8B030D-6E8A-4147-A177-3AD203B41FA5}">
                      <a16:colId xmlns:a16="http://schemas.microsoft.com/office/drawing/2014/main" val="1355610197"/>
                    </a:ext>
                  </a:extLst>
                </a:gridCol>
                <a:gridCol w="1286729">
                  <a:extLst>
                    <a:ext uri="{9D8B030D-6E8A-4147-A177-3AD203B41FA5}">
                      <a16:colId xmlns:a16="http://schemas.microsoft.com/office/drawing/2014/main" val="3030224932"/>
                    </a:ext>
                  </a:extLst>
                </a:gridCol>
              </a:tblGrid>
              <a:tr h="519101">
                <a:tc rowSpan="2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 Nova" panose="020B0504020202020204" pitchFamily="34" charset="0"/>
                        </a:rPr>
                        <a:t>Outcom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 Nova" panose="020B0504020202020204" pitchFamily="34" charset="0"/>
                        </a:rPr>
                        <a:t>Outpu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 Nova" panose="020B0504020202020204" pitchFamily="34" charset="0"/>
                        </a:rPr>
                        <a:t>Output Indicator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b="1" dirty="0"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Estimated Performance</a:t>
                      </a: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b="1" dirty="0"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2021/22</a:t>
                      </a:r>
                      <a:endParaRPr lang="en-US" sz="1100" dirty="0">
                        <a:effectLst/>
                        <a:latin typeface="Arial Nova" panose="020B0504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 Nova" panose="020B0504020202020204" pitchFamily="34" charset="0"/>
                        </a:rPr>
                        <a:t>MTEF Target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06251596"/>
                  </a:ext>
                </a:extLst>
              </a:tr>
              <a:tr h="495557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b="1" kern="1200" dirty="0">
                          <a:solidFill>
                            <a:schemeClr val="lt1"/>
                          </a:solidFill>
                          <a:effectLst/>
                          <a:latin typeface="Arial Nova" panose="020B0504020202020204" pitchFamily="34" charset="0"/>
                          <a:cs typeface="Times New Roman" panose="02020603050405020304" pitchFamily="18" charset="0"/>
                        </a:rPr>
                        <a:t>Annual Target 2022/23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b="1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2023/24</a:t>
                      </a:r>
                      <a:endParaRPr lang="en-US" sz="11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Arial Nova" panose="020B0504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b="1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2024/2025</a:t>
                      </a:r>
                      <a:endParaRPr lang="en-US" sz="11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Arial Nova" panose="020B0504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8272784"/>
                  </a:ext>
                </a:extLst>
              </a:tr>
              <a:tr h="787363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remature mortality due to NCDs reduced to 26% (10% reduction)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ew State patients admitted into designated psychiatric hospitals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umber of new State patients admitted into designated psychiatric hospitals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5 new State patients admitted into designated psychiatric hospitals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0 new State patients admitted into designated psychiatric hospitals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5  new State patients admitted into designated psychiatric hospitals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50  new State patients admitted into designated psychiatric hospitals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98857576"/>
                  </a:ext>
                </a:extLst>
              </a:tr>
              <a:tr h="120889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remature </a:t>
                      </a: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ortality due to NCDs reduced to 26% (10% reduction)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 National Mental Health Policy Framework and Strategic Plan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 National Mental Health Policy Framework and Strategic Plan developed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t applicable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 National Mental Health Policy Framework tabled at NHC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rovincial reports</a:t>
                      </a: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on the implementation on the National Mental Health Policy Framework and Strategic Plan 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ational Mental Health Policy Framework and Strategic Plan implementation monitored, and quarterly reports produced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69677233"/>
                  </a:ext>
                </a:extLst>
              </a:tr>
              <a:tr h="111516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Quality and Safety of Care Improved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Hospitals obtain 75% and above on the food service policy assessment tool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umber of hospitals compliant with the food service policy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8 hospitals obtain 75% and above on the food service policy assessment tool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dditional 100 hospitals (including 7 Tertiary Hospitals) obtain 75% and above on the food service policy assessment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96 hospitals obtain 75% and above on the food service policy assessment tool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49 hospitals obtain 75% and above on the food service policy assessment tool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7036030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DB6AD525-3603-4E08-AFBB-44D1659EC1DB}"/>
              </a:ext>
            </a:extLst>
          </p:cNvPr>
          <p:cNvSpPr txBox="1"/>
          <p:nvPr/>
        </p:nvSpPr>
        <p:spPr>
          <a:xfrm>
            <a:off x="-324544" y="188640"/>
            <a:ext cx="6993109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</a:t>
            </a:r>
            <a:r>
              <a:rPr lang="en-US" sz="2400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gramme</a:t>
            </a:r>
            <a:r>
              <a:rPr lang="en-US" sz="24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3:Communicable and non-communicable diseases</a:t>
            </a:r>
            <a:endParaRPr lang="en-US" sz="16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06362971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E4298AAE-E9C8-41B1-85D9-BB0A857C682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88524229"/>
              </p:ext>
            </p:extLst>
          </p:nvPr>
        </p:nvGraphicFramePr>
        <p:xfrm>
          <a:off x="179512" y="1299174"/>
          <a:ext cx="8784977" cy="2129826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127369">
                  <a:extLst>
                    <a:ext uri="{9D8B030D-6E8A-4147-A177-3AD203B41FA5}">
                      <a16:colId xmlns:a16="http://schemas.microsoft.com/office/drawing/2014/main" val="2270940587"/>
                    </a:ext>
                  </a:extLst>
                </a:gridCol>
                <a:gridCol w="1276268">
                  <a:extLst>
                    <a:ext uri="{9D8B030D-6E8A-4147-A177-3AD203B41FA5}">
                      <a16:colId xmlns:a16="http://schemas.microsoft.com/office/drawing/2014/main" val="699228783"/>
                    </a:ext>
                  </a:extLst>
                </a:gridCol>
                <a:gridCol w="1276268">
                  <a:extLst>
                    <a:ext uri="{9D8B030D-6E8A-4147-A177-3AD203B41FA5}">
                      <a16:colId xmlns:a16="http://schemas.microsoft.com/office/drawing/2014/main" val="1129905075"/>
                    </a:ext>
                  </a:extLst>
                </a:gridCol>
                <a:gridCol w="1276268">
                  <a:extLst>
                    <a:ext uri="{9D8B030D-6E8A-4147-A177-3AD203B41FA5}">
                      <a16:colId xmlns:a16="http://schemas.microsoft.com/office/drawing/2014/main" val="1451099684"/>
                    </a:ext>
                  </a:extLst>
                </a:gridCol>
                <a:gridCol w="1276268">
                  <a:extLst>
                    <a:ext uri="{9D8B030D-6E8A-4147-A177-3AD203B41FA5}">
                      <a16:colId xmlns:a16="http://schemas.microsoft.com/office/drawing/2014/main" val="2361683877"/>
                    </a:ext>
                  </a:extLst>
                </a:gridCol>
                <a:gridCol w="1276268">
                  <a:extLst>
                    <a:ext uri="{9D8B030D-6E8A-4147-A177-3AD203B41FA5}">
                      <a16:colId xmlns:a16="http://schemas.microsoft.com/office/drawing/2014/main" val="1355610197"/>
                    </a:ext>
                  </a:extLst>
                </a:gridCol>
                <a:gridCol w="1276268">
                  <a:extLst>
                    <a:ext uri="{9D8B030D-6E8A-4147-A177-3AD203B41FA5}">
                      <a16:colId xmlns:a16="http://schemas.microsoft.com/office/drawing/2014/main" val="3030224932"/>
                    </a:ext>
                  </a:extLst>
                </a:gridCol>
              </a:tblGrid>
              <a:tr h="519101">
                <a:tc rowSpan="2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 Nova" panose="020B0504020202020204" pitchFamily="34" charset="0"/>
                        </a:rPr>
                        <a:t>Outcom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 Nova" panose="020B0504020202020204" pitchFamily="34" charset="0"/>
                        </a:rPr>
                        <a:t>Outpu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 Nova" panose="020B0504020202020204" pitchFamily="34" charset="0"/>
                        </a:rPr>
                        <a:t>Output Indicator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b="1" dirty="0"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Estimated Performance</a:t>
                      </a: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b="1" dirty="0"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2021/22</a:t>
                      </a:r>
                      <a:endParaRPr lang="en-US" sz="1100" dirty="0">
                        <a:effectLst/>
                        <a:latin typeface="Arial Nova" panose="020B0504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 Nova" panose="020B0504020202020204" pitchFamily="34" charset="0"/>
                        </a:rPr>
                        <a:t>MTEF Target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06251596"/>
                  </a:ext>
                </a:extLst>
              </a:tr>
              <a:tr h="495557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b="1" kern="1200" dirty="0">
                          <a:solidFill>
                            <a:schemeClr val="lt1"/>
                          </a:solidFill>
                          <a:effectLst/>
                          <a:latin typeface="Arial Nova" panose="020B0504020202020204" pitchFamily="34" charset="0"/>
                          <a:cs typeface="Times New Roman" panose="02020603050405020304" pitchFamily="18" charset="0"/>
                        </a:rPr>
                        <a:t>Annual Target 2022/23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b="1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2023/24</a:t>
                      </a:r>
                      <a:endParaRPr lang="en-US" sz="11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Arial Nova" panose="020B0504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b="1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2024/2025</a:t>
                      </a:r>
                      <a:endParaRPr lang="en-US" sz="11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Arial Nova" panose="020B0504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8272784"/>
                  </a:ext>
                </a:extLst>
              </a:tr>
              <a:tr h="111516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remature mortality due to NCDs reduced to 26% </a:t>
                      </a: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10% reduction)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Updated Strategy for the prevention and control of obesity in SA developed   and published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Updated Strategy for the prevention and control of obesity in SA developed   and published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t Applicabl</a:t>
                      </a: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Updated Strategy for the prevention and control of obesity in SA developed and published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mplementation of the strategy monitored; and quarterly reports produced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mplementation of the strategy monitored; and quarterly reports produced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98857576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DB6AD525-3603-4E08-AFBB-44D1659EC1DB}"/>
              </a:ext>
            </a:extLst>
          </p:cNvPr>
          <p:cNvSpPr txBox="1"/>
          <p:nvPr/>
        </p:nvSpPr>
        <p:spPr>
          <a:xfrm>
            <a:off x="-324544" y="188640"/>
            <a:ext cx="6993109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</a:t>
            </a:r>
            <a:r>
              <a:rPr lang="en-US" sz="2400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gramme</a:t>
            </a:r>
            <a:r>
              <a:rPr lang="en-US" sz="24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3:Communicable and non-communicable diseases</a:t>
            </a:r>
            <a:endParaRPr lang="en-US" sz="16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31164130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AC2905-3502-4383-BE8E-CBF14BF08F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60323"/>
            <a:ext cx="8229600" cy="930276"/>
          </a:xfrm>
        </p:spPr>
        <p:txBody>
          <a:bodyPr/>
          <a:lstStyle/>
          <a:p>
            <a:r>
              <a:rPr lang="en-ZA" sz="3600" dirty="0"/>
              <a:t>Programme 4 : Primary Health Ca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10D3425-36BA-4FD1-BCD8-006284EA0A2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5536" y="1253331"/>
            <a:ext cx="8640960" cy="4351338"/>
          </a:xfrm>
        </p:spPr>
        <p:txBody>
          <a:bodyPr/>
          <a:lstStyle/>
          <a:p>
            <a:pPr marL="0" indent="0" algn="ctr">
              <a:buNone/>
            </a:pPr>
            <a:endParaRPr lang="en-GB" sz="2800" dirty="0"/>
          </a:p>
          <a:p>
            <a:pPr marL="0" indent="0" algn="ctr">
              <a:buNone/>
            </a:pPr>
            <a:endParaRPr lang="en-GB" sz="2800" dirty="0"/>
          </a:p>
          <a:p>
            <a:pPr marL="0" indent="0" algn="ctr">
              <a:buNone/>
            </a:pPr>
            <a:r>
              <a:rPr lang="en-GB" sz="2800" dirty="0"/>
              <a:t>To develop and oversee the implementation of legislation, policies, systems, and norms and standards for a </a:t>
            </a:r>
            <a:r>
              <a:rPr lang="en-GB" sz="2800" b="1" dirty="0">
                <a:solidFill>
                  <a:schemeClr val="accent3"/>
                </a:solidFill>
              </a:rPr>
              <a:t>uniform well-functioning District Health System</a:t>
            </a:r>
            <a:r>
              <a:rPr lang="en-GB" sz="2800" dirty="0"/>
              <a:t>, including </a:t>
            </a:r>
            <a:r>
              <a:rPr lang="en-GB" sz="2800" b="1" dirty="0">
                <a:solidFill>
                  <a:schemeClr val="accent3"/>
                </a:solidFill>
              </a:rPr>
              <a:t>Emergency and Environmental Health Services</a:t>
            </a:r>
            <a:r>
              <a:rPr lang="en-GB" sz="2800" dirty="0"/>
              <a:t>. </a:t>
            </a:r>
            <a:endParaRPr lang="en-US" sz="2800" dirty="0"/>
          </a:p>
          <a:p>
            <a:pPr marL="0" indent="0" algn="ctr">
              <a:buNone/>
            </a:pPr>
            <a:endParaRPr lang="en-ZA" sz="2800" dirty="0"/>
          </a:p>
        </p:txBody>
      </p:sp>
    </p:spTree>
    <p:extLst>
      <p:ext uri="{BB962C8B-B14F-4D97-AF65-F5344CB8AC3E}">
        <p14:creationId xmlns:p14="http://schemas.microsoft.com/office/powerpoint/2010/main" val="66687374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E4298AAE-E9C8-41B1-85D9-BB0A857C682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36273753"/>
              </p:ext>
            </p:extLst>
          </p:nvPr>
        </p:nvGraphicFramePr>
        <p:xfrm>
          <a:off x="143508" y="1625382"/>
          <a:ext cx="8856984" cy="3607236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136610">
                  <a:extLst>
                    <a:ext uri="{9D8B030D-6E8A-4147-A177-3AD203B41FA5}">
                      <a16:colId xmlns:a16="http://schemas.microsoft.com/office/drawing/2014/main" val="2270940587"/>
                    </a:ext>
                  </a:extLst>
                </a:gridCol>
                <a:gridCol w="1286729">
                  <a:extLst>
                    <a:ext uri="{9D8B030D-6E8A-4147-A177-3AD203B41FA5}">
                      <a16:colId xmlns:a16="http://schemas.microsoft.com/office/drawing/2014/main" val="699228783"/>
                    </a:ext>
                  </a:extLst>
                </a:gridCol>
                <a:gridCol w="1286729">
                  <a:extLst>
                    <a:ext uri="{9D8B030D-6E8A-4147-A177-3AD203B41FA5}">
                      <a16:colId xmlns:a16="http://schemas.microsoft.com/office/drawing/2014/main" val="1129905075"/>
                    </a:ext>
                  </a:extLst>
                </a:gridCol>
                <a:gridCol w="1286729">
                  <a:extLst>
                    <a:ext uri="{9D8B030D-6E8A-4147-A177-3AD203B41FA5}">
                      <a16:colId xmlns:a16="http://schemas.microsoft.com/office/drawing/2014/main" val="1451099684"/>
                    </a:ext>
                  </a:extLst>
                </a:gridCol>
                <a:gridCol w="1286729">
                  <a:extLst>
                    <a:ext uri="{9D8B030D-6E8A-4147-A177-3AD203B41FA5}">
                      <a16:colId xmlns:a16="http://schemas.microsoft.com/office/drawing/2014/main" val="2361683877"/>
                    </a:ext>
                  </a:extLst>
                </a:gridCol>
                <a:gridCol w="1286729">
                  <a:extLst>
                    <a:ext uri="{9D8B030D-6E8A-4147-A177-3AD203B41FA5}">
                      <a16:colId xmlns:a16="http://schemas.microsoft.com/office/drawing/2014/main" val="1355610197"/>
                    </a:ext>
                  </a:extLst>
                </a:gridCol>
                <a:gridCol w="1286729">
                  <a:extLst>
                    <a:ext uri="{9D8B030D-6E8A-4147-A177-3AD203B41FA5}">
                      <a16:colId xmlns:a16="http://schemas.microsoft.com/office/drawing/2014/main" val="3030224932"/>
                    </a:ext>
                  </a:extLst>
                </a:gridCol>
              </a:tblGrid>
              <a:tr h="519101">
                <a:tc rowSpan="2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 Nova" panose="020B0504020202020204" pitchFamily="34" charset="0"/>
                        </a:rPr>
                        <a:t>Outcom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 Nova" panose="020B0504020202020204" pitchFamily="34" charset="0"/>
                        </a:rPr>
                        <a:t>Outpu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 Nova" panose="020B0504020202020204" pitchFamily="34" charset="0"/>
                        </a:rPr>
                        <a:t>Output Indicator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b="1" dirty="0"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Estimated Performance</a:t>
                      </a: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b="1" dirty="0"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2021/22</a:t>
                      </a:r>
                      <a:endParaRPr lang="en-US" sz="1100" dirty="0">
                        <a:effectLst/>
                        <a:latin typeface="Arial Nova" panose="020B0504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 Nova" panose="020B0504020202020204" pitchFamily="34" charset="0"/>
                        </a:rPr>
                        <a:t>MTEF Target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06251596"/>
                  </a:ext>
                </a:extLst>
              </a:tr>
              <a:tr h="495557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b="1" kern="1200" dirty="0">
                          <a:solidFill>
                            <a:schemeClr val="lt1"/>
                          </a:solidFill>
                          <a:effectLst/>
                          <a:latin typeface="Arial Nova" panose="020B0504020202020204" pitchFamily="34" charset="0"/>
                          <a:cs typeface="Times New Roman" panose="02020603050405020304" pitchFamily="18" charset="0"/>
                        </a:rPr>
                        <a:t>Annual Target 2022/23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b="1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2023/24</a:t>
                      </a:r>
                      <a:endParaRPr lang="en-US" sz="11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Arial Nova" panose="020B0504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b="1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2024/2025</a:t>
                      </a:r>
                      <a:endParaRPr lang="en-US" sz="11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Arial Nova" panose="020B0504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8272784"/>
                  </a:ext>
                </a:extLst>
              </a:tr>
              <a:tr h="111516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esources are available to managers and frontline providers, with flexibility to manage it according to their local needs.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valuation report available to inform the revised District Health System Policy framework and strategy for 2022-2026 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valuation report on the review of the  District Health System Policy framework for 2014-2019 available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ew Indicator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valuation report on the review of the  District Health System Policy framework for 2014-2019 available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HS District Health System Policy framework and strategy for 2022-2026 developed and approved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HS District Health System Policy framework and strategy for 2022-2026 implemented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98857576"/>
                  </a:ext>
                </a:extLst>
              </a:tr>
              <a:tr h="120889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esources are available to managers and frontline providers, with flexibility to manage it according to their local needs.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istrict Health Management Offices (DHMO) Guidelines tested in Districts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udit report available on testing of DHMO Guidelines 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ew Indicator 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istrict Health Management Offices (DHMO) Guidelines tested in 18 Districts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udit report findings used to update DHMO Guidelines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HMO Guidelines implemented by Provincial Departments of Health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69677233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DB6AD525-3603-4E08-AFBB-44D1659EC1DB}"/>
              </a:ext>
            </a:extLst>
          </p:cNvPr>
          <p:cNvSpPr txBox="1"/>
          <p:nvPr/>
        </p:nvSpPr>
        <p:spPr>
          <a:xfrm>
            <a:off x="0" y="260648"/>
            <a:ext cx="699310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</a:t>
            </a:r>
            <a:r>
              <a:rPr lang="en-US" sz="2400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gramme</a:t>
            </a:r>
            <a:r>
              <a:rPr lang="en-US" sz="24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4:Primary Health Care</a:t>
            </a:r>
            <a:endParaRPr lang="en-US" sz="16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648688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39020" y="2271823"/>
            <a:ext cx="6408712" cy="1368152"/>
          </a:xfrm>
        </p:spPr>
        <p:txBody>
          <a:bodyPr/>
          <a:lstStyle/>
          <a:p>
            <a:pPr marL="0" indent="0" algn="ctr">
              <a:buNone/>
            </a:pPr>
            <a:r>
              <a:rPr lang="en-ZA" sz="2000" u="sng" dirty="0">
                <a:solidFill>
                  <a:schemeClr val="accent3"/>
                </a:solidFill>
              </a:rPr>
              <a:t>Our Vision</a:t>
            </a:r>
          </a:p>
          <a:p>
            <a:pPr marL="0" indent="0" algn="ctr">
              <a:buNone/>
            </a:pPr>
            <a:r>
              <a:rPr lang="en-ZA" sz="2800" dirty="0"/>
              <a:t>“A long and healthy life for all South Africans”</a:t>
            </a:r>
            <a:endParaRPr lang="en-US" sz="2800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4079" y="3272132"/>
            <a:ext cx="6264696" cy="2603947"/>
          </a:xfrm>
        </p:spPr>
        <p:txBody>
          <a:bodyPr/>
          <a:lstStyle/>
          <a:p>
            <a:pPr marL="0" indent="0" algn="ctr">
              <a:buNone/>
            </a:pPr>
            <a:endParaRPr lang="en-ZA" sz="1800" u="sng" dirty="0"/>
          </a:p>
          <a:p>
            <a:pPr marL="0" indent="0" algn="ctr">
              <a:buNone/>
            </a:pPr>
            <a:r>
              <a:rPr lang="en-ZA" sz="2000" u="sng" dirty="0">
                <a:solidFill>
                  <a:schemeClr val="accent2"/>
                </a:solidFill>
              </a:rPr>
              <a:t>Problem Statement(s)</a:t>
            </a:r>
            <a:endParaRPr lang="en-US" sz="2000" u="sng" dirty="0">
              <a:solidFill>
                <a:schemeClr val="accent2"/>
              </a:solidFill>
            </a:endParaRPr>
          </a:p>
          <a:p>
            <a:pPr marL="0" indent="0">
              <a:buNone/>
            </a:pPr>
            <a:r>
              <a:rPr lang="en-US" sz="1600" dirty="0"/>
              <a:t>“The </a:t>
            </a:r>
            <a:r>
              <a:rPr lang="en-US" sz="1600" b="1" dirty="0"/>
              <a:t>performance</a:t>
            </a:r>
            <a:r>
              <a:rPr lang="en-US" sz="1600" dirty="0"/>
              <a:t> of South Africa’s health system since 1994 </a:t>
            </a:r>
            <a:r>
              <a:rPr lang="en-US" sz="1600" b="1" dirty="0"/>
              <a:t>has been poor</a:t>
            </a:r>
            <a:r>
              <a:rPr lang="en-US" sz="1600" dirty="0"/>
              <a:t>, despite </a:t>
            </a:r>
            <a:r>
              <a:rPr lang="en-US" sz="1600" b="1" dirty="0"/>
              <a:t>good policy </a:t>
            </a:r>
            <a:r>
              <a:rPr lang="en-US" sz="1600" dirty="0"/>
              <a:t>and relatively </a:t>
            </a:r>
            <a:r>
              <a:rPr lang="en-US" sz="1600" b="1" dirty="0"/>
              <a:t>high spending </a:t>
            </a:r>
            <a:r>
              <a:rPr lang="en-US" sz="1600" dirty="0"/>
              <a:t>as a proportion of GDP. Services are </a:t>
            </a:r>
            <a:r>
              <a:rPr lang="en-US" sz="1600" b="1" dirty="0"/>
              <a:t>fragmented</a:t>
            </a:r>
            <a:r>
              <a:rPr lang="en-US" sz="1600" dirty="0"/>
              <a:t> between (</a:t>
            </a:r>
            <a:r>
              <a:rPr lang="en-US" sz="1600" i="1" dirty="0"/>
              <a:t>and </a:t>
            </a:r>
            <a:r>
              <a:rPr lang="en-US" sz="1600" b="1" i="1" dirty="0"/>
              <a:t>within</a:t>
            </a:r>
            <a:r>
              <a:rPr lang="en-US" sz="1600" b="1" dirty="0"/>
              <a:t>) the public and private sectors</a:t>
            </a:r>
            <a:r>
              <a:rPr lang="en-US" sz="1600" dirty="0"/>
              <a:t>”.    NDP 2030 (2012)</a:t>
            </a:r>
          </a:p>
          <a:p>
            <a:pPr marL="0" indent="0">
              <a:buNone/>
            </a:pPr>
            <a:endParaRPr lang="en-ZA" sz="1600" dirty="0"/>
          </a:p>
          <a:p>
            <a:pPr marL="0" indent="0">
              <a:buNone/>
            </a:pPr>
            <a:r>
              <a:rPr lang="en-US" sz="1600" dirty="0"/>
              <a:t>Health system should be “</a:t>
            </a:r>
            <a:r>
              <a:rPr lang="en-US" sz="1600" b="1" dirty="0"/>
              <a:t>patient focused </a:t>
            </a:r>
            <a:r>
              <a:rPr lang="en-US" sz="1600" dirty="0"/>
              <a:t>rather than a disease focused” NDP 2030</a:t>
            </a:r>
          </a:p>
        </p:txBody>
      </p:sp>
      <p:pic>
        <p:nvPicPr>
          <p:cNvPr id="5" name="Picture 1" descr="C:\Users\R930-F42K\Desktop\NDP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568775" y="1916832"/>
            <a:ext cx="2446950" cy="3189379"/>
          </a:xfrm>
          <a:prstGeom prst="rect">
            <a:avLst/>
          </a:prstGeom>
          <a:noFill/>
        </p:spPr>
      </p:pic>
      <p:sp>
        <p:nvSpPr>
          <p:cNvPr id="6" name="Content Placeholder 2"/>
          <p:cNvSpPr txBox="1">
            <a:spLocks/>
          </p:cNvSpPr>
          <p:nvPr/>
        </p:nvSpPr>
        <p:spPr>
          <a:xfrm>
            <a:off x="140400" y="1195995"/>
            <a:ext cx="6735856" cy="1368152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auto">
              <a:spcAft>
                <a:spcPts val="0"/>
              </a:spcAft>
              <a:buFont typeface="Arial" pitchFamily="34" charset="0"/>
              <a:buNone/>
            </a:pPr>
            <a:r>
              <a:rPr lang="en-ZA" sz="2000" u="sng" dirty="0">
                <a:solidFill>
                  <a:schemeClr val="accent6"/>
                </a:solidFill>
              </a:rPr>
              <a:t>MTSF 2019-2024 - Government Priority 2 (of 7): </a:t>
            </a:r>
          </a:p>
          <a:p>
            <a:pPr marL="0" indent="0" algn="ctr" fontAlgn="auto">
              <a:spcAft>
                <a:spcPts val="0"/>
              </a:spcAft>
              <a:buFont typeface="Arial" pitchFamily="34" charset="0"/>
              <a:buNone/>
            </a:pPr>
            <a:r>
              <a:rPr lang="en-ZA" sz="2800" dirty="0"/>
              <a:t>“Education, Skills and Health”</a:t>
            </a:r>
            <a:endParaRPr lang="en-US" sz="2800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67544" y="95743"/>
            <a:ext cx="6535638" cy="543595"/>
          </a:xfrm>
        </p:spPr>
        <p:txBody>
          <a:bodyPr/>
          <a:lstStyle/>
          <a:p>
            <a:r>
              <a:rPr lang="en-ZA" dirty="0"/>
              <a:t>Basis and Context of the National </a:t>
            </a:r>
            <a:r>
              <a:rPr lang="en-ZA" dirty="0" err="1"/>
              <a:t>DoH</a:t>
            </a:r>
            <a:r>
              <a:rPr lang="en-ZA" dirty="0"/>
              <a:t> Strategic Plan and APP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422165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E4298AAE-E9C8-41B1-85D9-BB0A857C682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45970040"/>
              </p:ext>
            </p:extLst>
          </p:nvPr>
        </p:nvGraphicFramePr>
        <p:xfrm>
          <a:off x="143508" y="1556792"/>
          <a:ext cx="8856984" cy="3607236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136610">
                  <a:extLst>
                    <a:ext uri="{9D8B030D-6E8A-4147-A177-3AD203B41FA5}">
                      <a16:colId xmlns:a16="http://schemas.microsoft.com/office/drawing/2014/main" val="2270940587"/>
                    </a:ext>
                  </a:extLst>
                </a:gridCol>
                <a:gridCol w="1286729">
                  <a:extLst>
                    <a:ext uri="{9D8B030D-6E8A-4147-A177-3AD203B41FA5}">
                      <a16:colId xmlns:a16="http://schemas.microsoft.com/office/drawing/2014/main" val="699228783"/>
                    </a:ext>
                  </a:extLst>
                </a:gridCol>
                <a:gridCol w="1286729">
                  <a:extLst>
                    <a:ext uri="{9D8B030D-6E8A-4147-A177-3AD203B41FA5}">
                      <a16:colId xmlns:a16="http://schemas.microsoft.com/office/drawing/2014/main" val="1129905075"/>
                    </a:ext>
                  </a:extLst>
                </a:gridCol>
                <a:gridCol w="1286729">
                  <a:extLst>
                    <a:ext uri="{9D8B030D-6E8A-4147-A177-3AD203B41FA5}">
                      <a16:colId xmlns:a16="http://schemas.microsoft.com/office/drawing/2014/main" val="1451099684"/>
                    </a:ext>
                  </a:extLst>
                </a:gridCol>
                <a:gridCol w="1286729">
                  <a:extLst>
                    <a:ext uri="{9D8B030D-6E8A-4147-A177-3AD203B41FA5}">
                      <a16:colId xmlns:a16="http://schemas.microsoft.com/office/drawing/2014/main" val="2361683877"/>
                    </a:ext>
                  </a:extLst>
                </a:gridCol>
                <a:gridCol w="1286729">
                  <a:extLst>
                    <a:ext uri="{9D8B030D-6E8A-4147-A177-3AD203B41FA5}">
                      <a16:colId xmlns:a16="http://schemas.microsoft.com/office/drawing/2014/main" val="1355610197"/>
                    </a:ext>
                  </a:extLst>
                </a:gridCol>
                <a:gridCol w="1286729">
                  <a:extLst>
                    <a:ext uri="{9D8B030D-6E8A-4147-A177-3AD203B41FA5}">
                      <a16:colId xmlns:a16="http://schemas.microsoft.com/office/drawing/2014/main" val="3030224932"/>
                    </a:ext>
                  </a:extLst>
                </a:gridCol>
              </a:tblGrid>
              <a:tr h="519101">
                <a:tc rowSpan="2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 Nova" panose="020B0504020202020204" pitchFamily="34" charset="0"/>
                        </a:rPr>
                        <a:t>Outcom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 Nova" panose="020B0504020202020204" pitchFamily="34" charset="0"/>
                        </a:rPr>
                        <a:t>Outpu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 Nova" panose="020B0504020202020204" pitchFamily="34" charset="0"/>
                        </a:rPr>
                        <a:t>Output Indicator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b="1" dirty="0"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Estimated Performance</a:t>
                      </a: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b="1" dirty="0"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2021/22</a:t>
                      </a:r>
                      <a:endParaRPr lang="en-US" sz="1100" dirty="0">
                        <a:effectLst/>
                        <a:latin typeface="Arial Nova" panose="020B0504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 Nova" panose="020B0504020202020204" pitchFamily="34" charset="0"/>
                        </a:rPr>
                        <a:t>MTEF Target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06251596"/>
                  </a:ext>
                </a:extLst>
              </a:tr>
              <a:tr h="495557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b="1" kern="1200" dirty="0">
                          <a:solidFill>
                            <a:schemeClr val="lt1"/>
                          </a:solidFill>
                          <a:effectLst/>
                          <a:latin typeface="Arial Nova" panose="020B0504020202020204" pitchFamily="34" charset="0"/>
                          <a:cs typeface="Times New Roman" panose="02020603050405020304" pitchFamily="18" charset="0"/>
                        </a:rPr>
                        <a:t>Annual Target 2022/23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b="1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2023/24</a:t>
                      </a:r>
                      <a:endParaRPr lang="en-US" sz="11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Arial Nova" panose="020B0504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b="1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2024/2025</a:t>
                      </a:r>
                      <a:endParaRPr lang="en-US" sz="11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Arial Nova" panose="020B0504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8272784"/>
                  </a:ext>
                </a:extLst>
              </a:tr>
              <a:tr h="111516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ommunity participation promoted to ensure health system responsiveness and effective management of their health needs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HC Facilities with Ward Based Primary Health Care Outreach Teams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umber of PHC Facilities with Ward Based Primary Health Care Outreach Teams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50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700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900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000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98857576"/>
                  </a:ext>
                </a:extLst>
              </a:tr>
              <a:tr h="120889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ommunity participation promoted to ensure health system responsiveness and effective management of their health needs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lients lost to follow up for TB and HIV treatment traced by CHWs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umber of clients lost to follow for TB and HIV treatment traced by CHWs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50000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50000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00000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50000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69677233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DB6AD525-3603-4E08-AFBB-44D1659EC1DB}"/>
              </a:ext>
            </a:extLst>
          </p:cNvPr>
          <p:cNvSpPr txBox="1"/>
          <p:nvPr/>
        </p:nvSpPr>
        <p:spPr>
          <a:xfrm>
            <a:off x="0" y="260648"/>
            <a:ext cx="699310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</a:t>
            </a:r>
            <a:r>
              <a:rPr lang="en-US" sz="2400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gramme</a:t>
            </a:r>
            <a:r>
              <a:rPr lang="en-US" sz="24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4:Primary Health Care</a:t>
            </a:r>
            <a:endParaRPr lang="en-US" sz="16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9256126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E4298AAE-E9C8-41B1-85D9-BB0A857C682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88500632"/>
              </p:ext>
            </p:extLst>
          </p:nvPr>
        </p:nvGraphicFramePr>
        <p:xfrm>
          <a:off x="251520" y="1380780"/>
          <a:ext cx="8712971" cy="409644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118129">
                  <a:extLst>
                    <a:ext uri="{9D8B030D-6E8A-4147-A177-3AD203B41FA5}">
                      <a16:colId xmlns:a16="http://schemas.microsoft.com/office/drawing/2014/main" val="2270940587"/>
                    </a:ext>
                  </a:extLst>
                </a:gridCol>
                <a:gridCol w="1265807">
                  <a:extLst>
                    <a:ext uri="{9D8B030D-6E8A-4147-A177-3AD203B41FA5}">
                      <a16:colId xmlns:a16="http://schemas.microsoft.com/office/drawing/2014/main" val="699228783"/>
                    </a:ext>
                  </a:extLst>
                </a:gridCol>
                <a:gridCol w="1265807">
                  <a:extLst>
                    <a:ext uri="{9D8B030D-6E8A-4147-A177-3AD203B41FA5}">
                      <a16:colId xmlns:a16="http://schemas.microsoft.com/office/drawing/2014/main" val="1129905075"/>
                    </a:ext>
                  </a:extLst>
                </a:gridCol>
                <a:gridCol w="1265807">
                  <a:extLst>
                    <a:ext uri="{9D8B030D-6E8A-4147-A177-3AD203B41FA5}">
                      <a16:colId xmlns:a16="http://schemas.microsoft.com/office/drawing/2014/main" val="1451099684"/>
                    </a:ext>
                  </a:extLst>
                </a:gridCol>
                <a:gridCol w="1265807">
                  <a:extLst>
                    <a:ext uri="{9D8B030D-6E8A-4147-A177-3AD203B41FA5}">
                      <a16:colId xmlns:a16="http://schemas.microsoft.com/office/drawing/2014/main" val="2361683877"/>
                    </a:ext>
                  </a:extLst>
                </a:gridCol>
                <a:gridCol w="1265807">
                  <a:extLst>
                    <a:ext uri="{9D8B030D-6E8A-4147-A177-3AD203B41FA5}">
                      <a16:colId xmlns:a16="http://schemas.microsoft.com/office/drawing/2014/main" val="1355610197"/>
                    </a:ext>
                  </a:extLst>
                </a:gridCol>
                <a:gridCol w="1265807">
                  <a:extLst>
                    <a:ext uri="{9D8B030D-6E8A-4147-A177-3AD203B41FA5}">
                      <a16:colId xmlns:a16="http://schemas.microsoft.com/office/drawing/2014/main" val="3030224932"/>
                    </a:ext>
                  </a:extLst>
                </a:gridCol>
              </a:tblGrid>
              <a:tr h="519101">
                <a:tc rowSpan="2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 Nova" panose="020B0504020202020204" pitchFamily="34" charset="0"/>
                        </a:rPr>
                        <a:t>Outcom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 Nova" panose="020B0504020202020204" pitchFamily="34" charset="0"/>
                        </a:rPr>
                        <a:t>Outpu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 Nova" panose="020B0504020202020204" pitchFamily="34" charset="0"/>
                        </a:rPr>
                        <a:t>Output Indicator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b="1" dirty="0"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Estimated Performance</a:t>
                      </a: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b="1" dirty="0"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2021/22</a:t>
                      </a:r>
                      <a:endParaRPr lang="en-US" sz="1100" dirty="0">
                        <a:effectLst/>
                        <a:latin typeface="Arial Nova" panose="020B0504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 Nova" panose="020B0504020202020204" pitchFamily="34" charset="0"/>
                        </a:rPr>
                        <a:t>MTEF Target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06251596"/>
                  </a:ext>
                </a:extLst>
              </a:tr>
              <a:tr h="495557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b="1" kern="1200" dirty="0">
                          <a:solidFill>
                            <a:schemeClr val="lt1"/>
                          </a:solidFill>
                          <a:effectLst/>
                          <a:latin typeface="Arial Nova" panose="020B0504020202020204" pitchFamily="34" charset="0"/>
                          <a:cs typeface="Times New Roman" panose="02020603050405020304" pitchFamily="18" charset="0"/>
                        </a:rPr>
                        <a:t>Annual Target 2022/23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b="1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2023/24</a:t>
                      </a:r>
                      <a:endParaRPr lang="en-US" sz="11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Arial Nova" panose="020B0504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b="1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2024/2025</a:t>
                      </a:r>
                      <a:endParaRPr lang="en-US" sz="11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Arial Nova" panose="020B0504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8272784"/>
                  </a:ext>
                </a:extLst>
              </a:tr>
              <a:tr h="120889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nvironmental Health strengthened by contributing to improved quality of water, sanitation, waste management and food services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orts of entry services compliant with international health regulations per year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umber of ports of entry compliant with international health regulations based on self-assessments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8 ports of entry compliant with international health regulations based on self-assessments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5 ports of entry compliant with international health regulations based on self-assessments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0 ports of entry compliant with international health regulations based on self-assessments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5 ports of entry compliant with international health regulations based on self-assessments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69677233"/>
                  </a:ext>
                </a:extLst>
              </a:tr>
              <a:tr h="111516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nvironmental Health strengthened by contributing to improved quality of water, sanitation, waste management and food services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istricts and metropolitan municipalities compliant with National Environmental Health Norms and Standards.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umber of Metropolitan and District Municipalities assessed for compliance to National Environmental Health Norms and Standards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1 Metropolitan and District Municipalities (which performed below 75%) assessed for compliance to National Environmental Health Norms and Standards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6 Metropolitan and District Municipalities assessed for compliance to National Environmental Health Norms and Standards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6 Metropolitan and District Municipalities assessed for compliance to National Environmental Health Norms and Standards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2 Metropolitan and District Municipalities compliant with the National Environmental Health Norms and Standards based on Self-Assessment/ Provincial Assessments.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7036030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DB6AD525-3603-4E08-AFBB-44D1659EC1DB}"/>
              </a:ext>
            </a:extLst>
          </p:cNvPr>
          <p:cNvSpPr txBox="1"/>
          <p:nvPr/>
        </p:nvSpPr>
        <p:spPr>
          <a:xfrm>
            <a:off x="0" y="260648"/>
            <a:ext cx="699310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</a:t>
            </a:r>
            <a:r>
              <a:rPr lang="en-US" sz="2400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gramme</a:t>
            </a:r>
            <a:r>
              <a:rPr lang="en-US" sz="24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4:Primary Health Care</a:t>
            </a:r>
            <a:endParaRPr lang="en-US" sz="16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86035706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E4298AAE-E9C8-41B1-85D9-BB0A857C682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14672768"/>
              </p:ext>
            </p:extLst>
          </p:nvPr>
        </p:nvGraphicFramePr>
        <p:xfrm>
          <a:off x="251520" y="1700808"/>
          <a:ext cx="8712971" cy="2129826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118129">
                  <a:extLst>
                    <a:ext uri="{9D8B030D-6E8A-4147-A177-3AD203B41FA5}">
                      <a16:colId xmlns:a16="http://schemas.microsoft.com/office/drawing/2014/main" val="2270940587"/>
                    </a:ext>
                  </a:extLst>
                </a:gridCol>
                <a:gridCol w="1265807">
                  <a:extLst>
                    <a:ext uri="{9D8B030D-6E8A-4147-A177-3AD203B41FA5}">
                      <a16:colId xmlns:a16="http://schemas.microsoft.com/office/drawing/2014/main" val="699228783"/>
                    </a:ext>
                  </a:extLst>
                </a:gridCol>
                <a:gridCol w="1265807">
                  <a:extLst>
                    <a:ext uri="{9D8B030D-6E8A-4147-A177-3AD203B41FA5}">
                      <a16:colId xmlns:a16="http://schemas.microsoft.com/office/drawing/2014/main" val="1129905075"/>
                    </a:ext>
                  </a:extLst>
                </a:gridCol>
                <a:gridCol w="1265807">
                  <a:extLst>
                    <a:ext uri="{9D8B030D-6E8A-4147-A177-3AD203B41FA5}">
                      <a16:colId xmlns:a16="http://schemas.microsoft.com/office/drawing/2014/main" val="1451099684"/>
                    </a:ext>
                  </a:extLst>
                </a:gridCol>
                <a:gridCol w="1265807">
                  <a:extLst>
                    <a:ext uri="{9D8B030D-6E8A-4147-A177-3AD203B41FA5}">
                      <a16:colId xmlns:a16="http://schemas.microsoft.com/office/drawing/2014/main" val="2361683877"/>
                    </a:ext>
                  </a:extLst>
                </a:gridCol>
                <a:gridCol w="1265807">
                  <a:extLst>
                    <a:ext uri="{9D8B030D-6E8A-4147-A177-3AD203B41FA5}">
                      <a16:colId xmlns:a16="http://schemas.microsoft.com/office/drawing/2014/main" val="1355610197"/>
                    </a:ext>
                  </a:extLst>
                </a:gridCol>
                <a:gridCol w="1265807">
                  <a:extLst>
                    <a:ext uri="{9D8B030D-6E8A-4147-A177-3AD203B41FA5}">
                      <a16:colId xmlns:a16="http://schemas.microsoft.com/office/drawing/2014/main" val="3030224932"/>
                    </a:ext>
                  </a:extLst>
                </a:gridCol>
              </a:tblGrid>
              <a:tr h="519101">
                <a:tc rowSpan="2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 Nova" panose="020B0504020202020204" pitchFamily="34" charset="0"/>
                        </a:rPr>
                        <a:t>Outcom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 Nova" panose="020B0504020202020204" pitchFamily="34" charset="0"/>
                        </a:rPr>
                        <a:t>Outpu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 Nova" panose="020B0504020202020204" pitchFamily="34" charset="0"/>
                        </a:rPr>
                        <a:t>Output Indicator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b="1" dirty="0"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Estimated Performance</a:t>
                      </a: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b="1" dirty="0"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2021/22</a:t>
                      </a:r>
                      <a:endParaRPr lang="en-US" sz="1100" dirty="0">
                        <a:effectLst/>
                        <a:latin typeface="Arial Nova" panose="020B0504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 Nova" panose="020B0504020202020204" pitchFamily="34" charset="0"/>
                        </a:rPr>
                        <a:t>MTEF Target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06251596"/>
                  </a:ext>
                </a:extLst>
              </a:tr>
              <a:tr h="495557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b="1" kern="1200" dirty="0">
                          <a:solidFill>
                            <a:schemeClr val="lt1"/>
                          </a:solidFill>
                          <a:effectLst/>
                          <a:latin typeface="Arial Nova" panose="020B0504020202020204" pitchFamily="34" charset="0"/>
                          <a:cs typeface="Times New Roman" panose="02020603050405020304" pitchFamily="18" charset="0"/>
                        </a:rPr>
                        <a:t>Annual Target 2022/23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b="1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2023/24</a:t>
                      </a:r>
                      <a:endParaRPr lang="en-US" sz="11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Arial Nova" panose="020B0504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b="1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2024/2025</a:t>
                      </a:r>
                      <a:endParaRPr lang="en-US" sz="11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Arial Nova" panose="020B0504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8272784"/>
                  </a:ext>
                </a:extLst>
              </a:tr>
              <a:tr h="111516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Quality and Safety of Care Improved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 Provinces assessed for compliance with Emergency Medical Services Regulations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umber of provinces assessed for compliance with Emergency Medical Services Regulations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 Provinces assessed for compliance with Emergency Medical Services Regulations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 Provinces assessed for compliance with Emergency Medical Services Regulations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 Provinces assessed for compliance with Emergency Medical Services Regulations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 Provinces assessed for compliance with Emergency Medical Services Regulations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98857576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DB6AD525-3603-4E08-AFBB-44D1659EC1DB}"/>
              </a:ext>
            </a:extLst>
          </p:cNvPr>
          <p:cNvSpPr txBox="1"/>
          <p:nvPr/>
        </p:nvSpPr>
        <p:spPr>
          <a:xfrm>
            <a:off x="0" y="260648"/>
            <a:ext cx="699310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</a:t>
            </a:r>
            <a:r>
              <a:rPr lang="en-US" sz="2400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gramme</a:t>
            </a:r>
            <a:r>
              <a:rPr lang="en-US" sz="24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4:Primary Health Care</a:t>
            </a:r>
            <a:endParaRPr lang="en-US" sz="16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73393493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814862-CD96-45F1-93DE-F7CA6B8C89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60323"/>
            <a:ext cx="8229600" cy="930276"/>
          </a:xfrm>
        </p:spPr>
        <p:txBody>
          <a:bodyPr/>
          <a:lstStyle/>
          <a:p>
            <a:r>
              <a:rPr lang="en-ZA" dirty="0"/>
              <a:t>Programme 5 : Hospital Systems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15EFF8F-CE79-4FD5-A1C6-FDBBC40461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9512" y="1124744"/>
            <a:ext cx="8856984" cy="4351338"/>
          </a:xfrm>
        </p:spPr>
        <p:txBody>
          <a:bodyPr/>
          <a:lstStyle/>
          <a:p>
            <a:pPr marL="0" indent="0" algn="ctr">
              <a:buNone/>
            </a:pPr>
            <a:r>
              <a:rPr lang="en-GB" sz="2800" dirty="0"/>
              <a:t>Develops </a:t>
            </a:r>
            <a:r>
              <a:rPr lang="en-GB" sz="2800" b="1" dirty="0">
                <a:solidFill>
                  <a:schemeClr val="accent3"/>
                </a:solidFill>
              </a:rPr>
              <a:t>national policy on hospital services </a:t>
            </a:r>
            <a:r>
              <a:rPr lang="en-GB" sz="2800" dirty="0"/>
              <a:t>and responsibilities by level of care; providing clear guidelines for referral and improved communication; developing detailed hospital plans; and facilitating </a:t>
            </a:r>
            <a:r>
              <a:rPr lang="en-GB" sz="2800" b="1" dirty="0">
                <a:solidFill>
                  <a:schemeClr val="accent3"/>
                </a:solidFill>
              </a:rPr>
              <a:t>quality improvement </a:t>
            </a:r>
            <a:r>
              <a:rPr lang="en-GB" sz="2800" dirty="0">
                <a:solidFill>
                  <a:schemeClr val="accent3"/>
                </a:solidFill>
              </a:rPr>
              <a:t>for hospitals</a:t>
            </a:r>
            <a:r>
              <a:rPr lang="en-GB" sz="2800" dirty="0"/>
              <a:t>. </a:t>
            </a:r>
          </a:p>
          <a:p>
            <a:pPr marL="0" indent="0" algn="ctr">
              <a:buNone/>
            </a:pPr>
            <a:r>
              <a:rPr lang="en-GB" sz="2800" dirty="0"/>
              <a:t>The programme is further responsible for the </a:t>
            </a:r>
            <a:r>
              <a:rPr lang="en-GB" sz="2800" b="1" dirty="0">
                <a:solidFill>
                  <a:schemeClr val="accent3"/>
                </a:solidFill>
              </a:rPr>
              <a:t>management of the national tertiary services grant</a:t>
            </a:r>
            <a:r>
              <a:rPr lang="en-GB" sz="2800" dirty="0"/>
              <a:t> and ensures that </a:t>
            </a:r>
            <a:r>
              <a:rPr lang="en-GB" sz="2800" b="1" dirty="0">
                <a:solidFill>
                  <a:schemeClr val="accent3"/>
                </a:solidFill>
              </a:rPr>
              <a:t>planning of health infrastructure</a:t>
            </a:r>
            <a:r>
              <a:rPr lang="en-GB" sz="2800" dirty="0"/>
              <a:t> meets the health needs of the country.</a:t>
            </a:r>
            <a:endParaRPr lang="en-US" sz="2800" dirty="0"/>
          </a:p>
          <a:p>
            <a:pPr marL="0" indent="0">
              <a:buNone/>
            </a:pPr>
            <a:endParaRPr lang="en-ZA" sz="2800" dirty="0"/>
          </a:p>
        </p:txBody>
      </p:sp>
    </p:spTree>
    <p:extLst>
      <p:ext uri="{BB962C8B-B14F-4D97-AF65-F5344CB8AC3E}">
        <p14:creationId xmlns:p14="http://schemas.microsoft.com/office/powerpoint/2010/main" val="146155185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E4298AAE-E9C8-41B1-85D9-BB0A857C682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67614785"/>
              </p:ext>
            </p:extLst>
          </p:nvPr>
        </p:nvGraphicFramePr>
        <p:xfrm>
          <a:off x="179511" y="1268760"/>
          <a:ext cx="8784978" cy="4489998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127370">
                  <a:extLst>
                    <a:ext uri="{9D8B030D-6E8A-4147-A177-3AD203B41FA5}">
                      <a16:colId xmlns:a16="http://schemas.microsoft.com/office/drawing/2014/main" val="2270940587"/>
                    </a:ext>
                  </a:extLst>
                </a:gridCol>
                <a:gridCol w="1276268">
                  <a:extLst>
                    <a:ext uri="{9D8B030D-6E8A-4147-A177-3AD203B41FA5}">
                      <a16:colId xmlns:a16="http://schemas.microsoft.com/office/drawing/2014/main" val="699228783"/>
                    </a:ext>
                  </a:extLst>
                </a:gridCol>
                <a:gridCol w="1276268">
                  <a:extLst>
                    <a:ext uri="{9D8B030D-6E8A-4147-A177-3AD203B41FA5}">
                      <a16:colId xmlns:a16="http://schemas.microsoft.com/office/drawing/2014/main" val="1129905075"/>
                    </a:ext>
                  </a:extLst>
                </a:gridCol>
                <a:gridCol w="1276268">
                  <a:extLst>
                    <a:ext uri="{9D8B030D-6E8A-4147-A177-3AD203B41FA5}">
                      <a16:colId xmlns:a16="http://schemas.microsoft.com/office/drawing/2014/main" val="1451099684"/>
                    </a:ext>
                  </a:extLst>
                </a:gridCol>
                <a:gridCol w="1276268">
                  <a:extLst>
                    <a:ext uri="{9D8B030D-6E8A-4147-A177-3AD203B41FA5}">
                      <a16:colId xmlns:a16="http://schemas.microsoft.com/office/drawing/2014/main" val="2361683877"/>
                    </a:ext>
                  </a:extLst>
                </a:gridCol>
                <a:gridCol w="1276268">
                  <a:extLst>
                    <a:ext uri="{9D8B030D-6E8A-4147-A177-3AD203B41FA5}">
                      <a16:colId xmlns:a16="http://schemas.microsoft.com/office/drawing/2014/main" val="1355610197"/>
                    </a:ext>
                  </a:extLst>
                </a:gridCol>
                <a:gridCol w="1276268">
                  <a:extLst>
                    <a:ext uri="{9D8B030D-6E8A-4147-A177-3AD203B41FA5}">
                      <a16:colId xmlns:a16="http://schemas.microsoft.com/office/drawing/2014/main" val="3030224932"/>
                    </a:ext>
                  </a:extLst>
                </a:gridCol>
              </a:tblGrid>
              <a:tr h="519101">
                <a:tc rowSpan="2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 Nova" panose="020B0504020202020204" pitchFamily="34" charset="0"/>
                        </a:rPr>
                        <a:t>Outcom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 Nova" panose="020B0504020202020204" pitchFamily="34" charset="0"/>
                        </a:rPr>
                        <a:t>Outpu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 Nova" panose="020B0504020202020204" pitchFamily="34" charset="0"/>
                        </a:rPr>
                        <a:t>Output Indicator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b="1" dirty="0"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Estimated Performance</a:t>
                      </a: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b="1" dirty="0"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2021/22</a:t>
                      </a:r>
                      <a:endParaRPr lang="en-US" sz="1100" dirty="0">
                        <a:effectLst/>
                        <a:latin typeface="Arial Nova" panose="020B0504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 Nova" panose="020B0504020202020204" pitchFamily="34" charset="0"/>
                        </a:rPr>
                        <a:t>MTEF Target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06251596"/>
                  </a:ext>
                </a:extLst>
              </a:tr>
              <a:tr h="495557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b="1" kern="1200" dirty="0">
                          <a:solidFill>
                            <a:schemeClr val="lt1"/>
                          </a:solidFill>
                          <a:effectLst/>
                          <a:latin typeface="Arial Nova" panose="020B0504020202020204" pitchFamily="34" charset="0"/>
                          <a:cs typeface="Times New Roman" panose="02020603050405020304" pitchFamily="18" charset="0"/>
                        </a:rPr>
                        <a:t>Annual Target 2022/23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b="1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2023/24</a:t>
                      </a:r>
                      <a:endParaRPr lang="en-US" sz="11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Arial Nova" panose="020B0504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b="1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2024/2025</a:t>
                      </a:r>
                      <a:endParaRPr lang="en-US" sz="11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Arial Nova" panose="020B0504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8272784"/>
                  </a:ext>
                </a:extLst>
              </a:tr>
              <a:tr h="111516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ackages of services available to the population is expanded on the basis of cost-effectiveness and equity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raft Regulations relating to designation/ classification of hospitals reviewed.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egulations relating to the designation/classification of hospitals reviewed and published for comment.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t applicable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egulations relating to designation /classification of Hospitals reviewed and  published for comment. 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egulations relating to the designation/ classification of hospitals published for implementation  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onitoring implemented on the approved Regulations.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98857576"/>
                  </a:ext>
                </a:extLst>
              </a:tr>
              <a:tr h="120889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inancing and Delivery of infrastructure projects improved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o assess the User Asset Management Plans (UAMPs) for the PHC facilities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umber of UAMPs assessed for the PHC facilities to be constructed or </a:t>
                      </a:r>
                      <a:r>
                        <a:rPr lang="en-US" sz="10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evitalised</a:t>
                      </a: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0 PHC facilities constructed or revitalised  (according to UAMPs assessed) 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0 facilities constructed or </a:t>
                      </a:r>
                      <a:r>
                        <a:rPr lang="en-US" sz="10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evitalised</a:t>
                      </a: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 (according to UAMPs assessed)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5 facilities constructed or revitalised  (according to UAMPs assessed)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2 facilities constructed or </a:t>
                      </a:r>
                      <a:r>
                        <a:rPr lang="en-US" sz="10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evitalised</a:t>
                      </a: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 (according to UAMPs assessed)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69677233"/>
                  </a:ext>
                </a:extLst>
              </a:tr>
              <a:tr h="111516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inancing and Delivery of infrastructure projects improved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o assess the Infrastructure Programme Management Plans (IPMPs) of the Health Provincial Departments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umber of IPMPs  assessed for the Hospitals to be constructed or </a:t>
                      </a:r>
                      <a:r>
                        <a:rPr lang="en-US" sz="10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evitalised</a:t>
                      </a: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21 Hospitals constructed or revitalised (according to IPMPs assessed) 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1 Hospitals constructed or </a:t>
                      </a:r>
                      <a:r>
                        <a:rPr lang="en-US" sz="10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evitalised</a:t>
                      </a: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(according to IPMPs assessed)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0 Hospitals constructed or revitalised (according to IPMPs assessed)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0 Hospitals constructed or </a:t>
                      </a:r>
                      <a:r>
                        <a:rPr lang="en-US" sz="10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evitalised</a:t>
                      </a: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(according to IPMPs assessed)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7036030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DB6AD525-3603-4E08-AFBB-44D1659EC1DB}"/>
              </a:ext>
            </a:extLst>
          </p:cNvPr>
          <p:cNvSpPr txBox="1"/>
          <p:nvPr/>
        </p:nvSpPr>
        <p:spPr>
          <a:xfrm>
            <a:off x="0" y="260648"/>
            <a:ext cx="699310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</a:t>
            </a:r>
            <a:r>
              <a:rPr lang="en-US" sz="2400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gramme</a:t>
            </a:r>
            <a:r>
              <a:rPr lang="en-US" sz="24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5:Hospital Systems </a:t>
            </a:r>
            <a:endParaRPr lang="en-US" sz="16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62488198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E4298AAE-E9C8-41B1-85D9-BB0A857C682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98741491"/>
              </p:ext>
            </p:extLst>
          </p:nvPr>
        </p:nvGraphicFramePr>
        <p:xfrm>
          <a:off x="179512" y="1340768"/>
          <a:ext cx="8856984" cy="2637083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136610">
                  <a:extLst>
                    <a:ext uri="{9D8B030D-6E8A-4147-A177-3AD203B41FA5}">
                      <a16:colId xmlns:a16="http://schemas.microsoft.com/office/drawing/2014/main" val="2270940587"/>
                    </a:ext>
                  </a:extLst>
                </a:gridCol>
                <a:gridCol w="1286729">
                  <a:extLst>
                    <a:ext uri="{9D8B030D-6E8A-4147-A177-3AD203B41FA5}">
                      <a16:colId xmlns:a16="http://schemas.microsoft.com/office/drawing/2014/main" val="699228783"/>
                    </a:ext>
                  </a:extLst>
                </a:gridCol>
                <a:gridCol w="1286729">
                  <a:extLst>
                    <a:ext uri="{9D8B030D-6E8A-4147-A177-3AD203B41FA5}">
                      <a16:colId xmlns:a16="http://schemas.microsoft.com/office/drawing/2014/main" val="1129905075"/>
                    </a:ext>
                  </a:extLst>
                </a:gridCol>
                <a:gridCol w="1286729">
                  <a:extLst>
                    <a:ext uri="{9D8B030D-6E8A-4147-A177-3AD203B41FA5}">
                      <a16:colId xmlns:a16="http://schemas.microsoft.com/office/drawing/2014/main" val="1451099684"/>
                    </a:ext>
                  </a:extLst>
                </a:gridCol>
                <a:gridCol w="1286729">
                  <a:extLst>
                    <a:ext uri="{9D8B030D-6E8A-4147-A177-3AD203B41FA5}">
                      <a16:colId xmlns:a16="http://schemas.microsoft.com/office/drawing/2014/main" val="2361683877"/>
                    </a:ext>
                  </a:extLst>
                </a:gridCol>
                <a:gridCol w="1286729">
                  <a:extLst>
                    <a:ext uri="{9D8B030D-6E8A-4147-A177-3AD203B41FA5}">
                      <a16:colId xmlns:a16="http://schemas.microsoft.com/office/drawing/2014/main" val="1355610197"/>
                    </a:ext>
                  </a:extLst>
                </a:gridCol>
                <a:gridCol w="1286729">
                  <a:extLst>
                    <a:ext uri="{9D8B030D-6E8A-4147-A177-3AD203B41FA5}">
                      <a16:colId xmlns:a16="http://schemas.microsoft.com/office/drawing/2014/main" val="3030224932"/>
                    </a:ext>
                  </a:extLst>
                </a:gridCol>
              </a:tblGrid>
              <a:tr h="519101">
                <a:tc rowSpan="2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 Nova" panose="020B0504020202020204" pitchFamily="34" charset="0"/>
                        </a:rPr>
                        <a:t>Outcom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 Nova" panose="020B0504020202020204" pitchFamily="34" charset="0"/>
                        </a:rPr>
                        <a:t>Outpu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 Nova" panose="020B0504020202020204" pitchFamily="34" charset="0"/>
                        </a:rPr>
                        <a:t>Output Indicator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b="1" dirty="0"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Estimated Performance</a:t>
                      </a: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b="1" dirty="0"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2021/22</a:t>
                      </a:r>
                      <a:endParaRPr lang="en-US" sz="1100" dirty="0">
                        <a:effectLst/>
                        <a:latin typeface="Arial Nova" panose="020B0504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 Nova" panose="020B0504020202020204" pitchFamily="34" charset="0"/>
                        </a:rPr>
                        <a:t>MTEF Target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06251596"/>
                  </a:ext>
                </a:extLst>
              </a:tr>
              <a:tr h="495557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b="1" kern="1200" dirty="0">
                          <a:solidFill>
                            <a:schemeClr val="lt1"/>
                          </a:solidFill>
                          <a:effectLst/>
                          <a:latin typeface="Arial Nova" panose="020B0504020202020204" pitchFamily="34" charset="0"/>
                          <a:cs typeface="Times New Roman" panose="02020603050405020304" pitchFamily="18" charset="0"/>
                        </a:rPr>
                        <a:t>Annual Target 2022/23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b="1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2023/24</a:t>
                      </a:r>
                      <a:endParaRPr lang="en-US" sz="11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Arial Nova" panose="020B0504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b="1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2024/2025</a:t>
                      </a:r>
                      <a:endParaRPr lang="en-US" sz="11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Arial Nova" panose="020B0504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8272784"/>
                  </a:ext>
                </a:extLst>
              </a:tr>
              <a:tr h="111516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inancing and Delivery of infrastructure projects improved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o assess the Maintenance Plans for the Public Health Facilities (Clinics, Hospitals, nursing colleges, EMS base stations) to be maintained, repaired and/or refurbished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umber of Maintenance Plans assessed for the public health Facilities (Clinics, Hospitals, nursing colleges, EMS base stations)  to be maintained, repaired and/or refurbished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0 public health Facilities (Clinics, Hospitals, nursing colleges, EMS base stations)  maintained, repaired and/or refurbished according to the Maintenance Plans assessed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0 public health Facilities (Clinics, Hospitals, nursing colleges, EMS base stations)  maintained, repaired and/or refurbished according to the Maintenance Plans assessed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59 public health Facilities (Clinics, Hospitals, nursing colleges, EMS base stations)  maintained, repaired and/or refurbished according to the Maintenance Plans assessed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0 public health Facilities (Clinics, Hospitals, nursing colleges, EMS base stations)  maintained, repaired and/or refurbished according to the Maintenance Plans assessed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98857576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DB6AD525-3603-4E08-AFBB-44D1659EC1DB}"/>
              </a:ext>
            </a:extLst>
          </p:cNvPr>
          <p:cNvSpPr txBox="1"/>
          <p:nvPr/>
        </p:nvSpPr>
        <p:spPr>
          <a:xfrm>
            <a:off x="0" y="260648"/>
            <a:ext cx="699310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</a:t>
            </a:r>
            <a:r>
              <a:rPr lang="en-US" sz="2400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gramme</a:t>
            </a:r>
            <a:r>
              <a:rPr lang="en-US" sz="24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5:Hospital Systems </a:t>
            </a:r>
            <a:endParaRPr lang="en-US" sz="16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390392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AAAFF5-5D11-46BC-837C-DCDC20DD6A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sz="2800" dirty="0"/>
              <a:t>Programme 6: Health System Governance and</a:t>
            </a:r>
            <a:br>
              <a:rPr lang="en-ZA" sz="2800" dirty="0"/>
            </a:br>
            <a:r>
              <a:rPr lang="en-ZA" sz="2800" dirty="0"/>
              <a:t> Human Resources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A0C1330-7231-4929-848F-832E567553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3528" y="1124744"/>
            <a:ext cx="8712968" cy="4351338"/>
          </a:xfrm>
        </p:spPr>
        <p:txBody>
          <a:bodyPr/>
          <a:lstStyle/>
          <a:p>
            <a:pPr marL="0" indent="0">
              <a:buNone/>
            </a:pPr>
            <a:r>
              <a:rPr lang="en-GB" sz="1800" dirty="0"/>
              <a:t>The purpose of the programme is threefold:</a:t>
            </a:r>
          </a:p>
          <a:p>
            <a:r>
              <a:rPr lang="en-GB" sz="1800" dirty="0"/>
              <a:t>to achieve </a:t>
            </a:r>
            <a:r>
              <a:rPr lang="en-GB" sz="1800" b="1" dirty="0">
                <a:solidFill>
                  <a:schemeClr val="accent3"/>
                </a:solidFill>
              </a:rPr>
              <a:t>integrated health systems planning, monitoring and evaluation, and research</a:t>
            </a:r>
            <a:r>
              <a:rPr lang="en-GB" sz="1800" dirty="0"/>
              <a:t>. </a:t>
            </a:r>
            <a:endParaRPr lang="en-US" sz="1800" dirty="0"/>
          </a:p>
          <a:p>
            <a:r>
              <a:rPr lang="en-GB" sz="1800" dirty="0"/>
              <a:t>Develops and monitors the implementation of</a:t>
            </a:r>
            <a:r>
              <a:rPr lang="en-GB" sz="1800" b="1" dirty="0">
                <a:solidFill>
                  <a:schemeClr val="accent3"/>
                </a:solidFill>
              </a:rPr>
              <a:t> health workforce policies </a:t>
            </a:r>
            <a:r>
              <a:rPr lang="en-GB" sz="1800" dirty="0"/>
              <a:t>and ensures effective health workforce planning, development and management in the national health system, as well as </a:t>
            </a:r>
            <a:r>
              <a:rPr lang="en-GB" sz="1800" b="1" dirty="0">
                <a:solidFill>
                  <a:schemeClr val="accent3"/>
                </a:solidFill>
              </a:rPr>
              <a:t>alignment of academic medical centres with health workforce programmes</a:t>
            </a:r>
            <a:r>
              <a:rPr lang="en-GB" sz="1800" dirty="0"/>
              <a:t> and training of health professionals.  It assists the government to achieve the population health goals of the country through nursing and midwifery, through the provision of </a:t>
            </a:r>
            <a:r>
              <a:rPr lang="en-GB" sz="1800" b="1" dirty="0">
                <a:solidFill>
                  <a:schemeClr val="accent3"/>
                </a:solidFill>
              </a:rPr>
              <a:t>expert policy and technical advice and recommendations on the role of nurses in attainment of desired health outputs</a:t>
            </a:r>
            <a:r>
              <a:rPr lang="en-GB" sz="1800" dirty="0"/>
              <a:t>. </a:t>
            </a:r>
            <a:endParaRPr lang="en-US" sz="1800" dirty="0"/>
          </a:p>
          <a:p>
            <a:r>
              <a:rPr lang="en-GB" sz="1800" dirty="0"/>
              <a:t>Lastly, the programme also has the responsibility for </a:t>
            </a:r>
            <a:r>
              <a:rPr lang="en-GB" sz="1800" b="1" dirty="0">
                <a:solidFill>
                  <a:schemeClr val="accent3"/>
                </a:solidFill>
              </a:rPr>
              <a:t>oversight over public entities and statutory health professional councils</a:t>
            </a:r>
            <a:r>
              <a:rPr lang="en-GB" sz="1800" dirty="0"/>
              <a:t>, and ensuring compliance by with applicable legislative prescripts.</a:t>
            </a:r>
            <a:endParaRPr lang="en-US" sz="1800" dirty="0"/>
          </a:p>
          <a:p>
            <a:pPr marL="0" indent="0">
              <a:buNone/>
            </a:pPr>
            <a:endParaRPr lang="en-ZA" sz="2800" dirty="0"/>
          </a:p>
        </p:txBody>
      </p:sp>
    </p:spTree>
    <p:extLst>
      <p:ext uri="{BB962C8B-B14F-4D97-AF65-F5344CB8AC3E}">
        <p14:creationId xmlns:p14="http://schemas.microsoft.com/office/powerpoint/2010/main" val="72959959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E4298AAE-E9C8-41B1-85D9-BB0A857C682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32603018"/>
              </p:ext>
            </p:extLst>
          </p:nvPr>
        </p:nvGraphicFramePr>
        <p:xfrm>
          <a:off x="179511" y="1099604"/>
          <a:ext cx="8784978" cy="468052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127370">
                  <a:extLst>
                    <a:ext uri="{9D8B030D-6E8A-4147-A177-3AD203B41FA5}">
                      <a16:colId xmlns:a16="http://schemas.microsoft.com/office/drawing/2014/main" val="2270940587"/>
                    </a:ext>
                  </a:extLst>
                </a:gridCol>
                <a:gridCol w="1276268">
                  <a:extLst>
                    <a:ext uri="{9D8B030D-6E8A-4147-A177-3AD203B41FA5}">
                      <a16:colId xmlns:a16="http://schemas.microsoft.com/office/drawing/2014/main" val="699228783"/>
                    </a:ext>
                  </a:extLst>
                </a:gridCol>
                <a:gridCol w="1276268">
                  <a:extLst>
                    <a:ext uri="{9D8B030D-6E8A-4147-A177-3AD203B41FA5}">
                      <a16:colId xmlns:a16="http://schemas.microsoft.com/office/drawing/2014/main" val="1129905075"/>
                    </a:ext>
                  </a:extLst>
                </a:gridCol>
                <a:gridCol w="1276268">
                  <a:extLst>
                    <a:ext uri="{9D8B030D-6E8A-4147-A177-3AD203B41FA5}">
                      <a16:colId xmlns:a16="http://schemas.microsoft.com/office/drawing/2014/main" val="1451099684"/>
                    </a:ext>
                  </a:extLst>
                </a:gridCol>
                <a:gridCol w="1276268">
                  <a:extLst>
                    <a:ext uri="{9D8B030D-6E8A-4147-A177-3AD203B41FA5}">
                      <a16:colId xmlns:a16="http://schemas.microsoft.com/office/drawing/2014/main" val="2361683877"/>
                    </a:ext>
                  </a:extLst>
                </a:gridCol>
                <a:gridCol w="1276268">
                  <a:extLst>
                    <a:ext uri="{9D8B030D-6E8A-4147-A177-3AD203B41FA5}">
                      <a16:colId xmlns:a16="http://schemas.microsoft.com/office/drawing/2014/main" val="1355610197"/>
                    </a:ext>
                  </a:extLst>
                </a:gridCol>
                <a:gridCol w="1276268">
                  <a:extLst>
                    <a:ext uri="{9D8B030D-6E8A-4147-A177-3AD203B41FA5}">
                      <a16:colId xmlns:a16="http://schemas.microsoft.com/office/drawing/2014/main" val="3030224932"/>
                    </a:ext>
                  </a:extLst>
                </a:gridCol>
              </a:tblGrid>
              <a:tr h="519101">
                <a:tc rowSpan="2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 Nova" panose="020B0504020202020204" pitchFamily="34" charset="0"/>
                        </a:rPr>
                        <a:t>Outcom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 Nova" panose="020B0504020202020204" pitchFamily="34" charset="0"/>
                        </a:rPr>
                        <a:t>Outpu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 Nova" panose="020B0504020202020204" pitchFamily="34" charset="0"/>
                        </a:rPr>
                        <a:t>Output Indicator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b="1" dirty="0"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Estimated Performance</a:t>
                      </a: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b="1" dirty="0"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2021/22</a:t>
                      </a:r>
                      <a:endParaRPr lang="en-US" sz="1100" dirty="0">
                        <a:effectLst/>
                        <a:latin typeface="Arial Nova" panose="020B0504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 Nova" panose="020B0504020202020204" pitchFamily="34" charset="0"/>
                        </a:rPr>
                        <a:t>MTEF Target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06251596"/>
                  </a:ext>
                </a:extLst>
              </a:tr>
              <a:tr h="495557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b="1" kern="1200" dirty="0">
                          <a:solidFill>
                            <a:schemeClr val="lt1"/>
                          </a:solidFill>
                          <a:effectLst/>
                          <a:latin typeface="Arial Nova" panose="020B0504020202020204" pitchFamily="34" charset="0"/>
                          <a:cs typeface="Times New Roman" panose="02020603050405020304" pitchFamily="18" charset="0"/>
                        </a:rPr>
                        <a:t>Annual Target 2022/23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b="1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2023/24</a:t>
                      </a:r>
                      <a:endParaRPr lang="en-US" sz="11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Arial Nova" panose="020B0504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b="1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2024/2025</a:t>
                      </a:r>
                      <a:endParaRPr lang="en-US" sz="11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Arial Nova" panose="020B0504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8272784"/>
                  </a:ext>
                </a:extLst>
              </a:tr>
              <a:tr h="111516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Quality and Safety of Care Improved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mproved corporate governance practices through establishment of effective governance structures for regulation of health practitioners and service delivery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umber of Boards/Councils appointment recommendations made prior expiry of the term of office 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ew Indicator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wo (2) Boards appointment recommendations made prior expiry of the term of office (SAMRC and OHSC)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3)  SAPC, SANC, NHLS Board/Council appointed for the new term of office 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2) CMS and SADTC Board/Council appointed for the new term of office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98857576"/>
                  </a:ext>
                </a:extLst>
              </a:tr>
              <a:tr h="120889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Quality and Safety of Care Improved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ntities governance and performance monitored for compliance with applicable legislation, policies and guidelines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tatutory Health Professional Councils and Public Entities governance report produced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ew Indicator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Bi-annual governance report produced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Bi-annual governance report produced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Bi- annual governance report produced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69677233"/>
                  </a:ext>
                </a:extLst>
              </a:tr>
              <a:tr h="997607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Quality and safety of care improved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ursing Colleges supported to develop training plans for nurse/midwife specialists. 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umber of Nursing Colleges supported to develop training plans for nurse/midwife specialists.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US" sz="10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US" sz="10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ew Indicator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 Nursing Colleges supported to develop training plans for nurse/midwife specialists.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t Applicable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t Applicable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7036030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DB6AD525-3603-4E08-AFBB-44D1659EC1DB}"/>
              </a:ext>
            </a:extLst>
          </p:cNvPr>
          <p:cNvSpPr txBox="1"/>
          <p:nvPr/>
        </p:nvSpPr>
        <p:spPr>
          <a:xfrm>
            <a:off x="0" y="260648"/>
            <a:ext cx="6993109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</a:t>
            </a:r>
            <a:r>
              <a:rPr lang="en-US" sz="2400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gramme</a:t>
            </a:r>
            <a:r>
              <a:rPr lang="en-US" sz="24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6:Health System Governance and Human Resources</a:t>
            </a:r>
            <a:endParaRPr lang="en-US" sz="16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85871128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E4298AAE-E9C8-41B1-85D9-BB0A857C682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75453348"/>
              </p:ext>
            </p:extLst>
          </p:nvPr>
        </p:nvGraphicFramePr>
        <p:xfrm>
          <a:off x="143508" y="1193027"/>
          <a:ext cx="8856984" cy="4471945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136610">
                  <a:extLst>
                    <a:ext uri="{9D8B030D-6E8A-4147-A177-3AD203B41FA5}">
                      <a16:colId xmlns:a16="http://schemas.microsoft.com/office/drawing/2014/main" val="2270940587"/>
                    </a:ext>
                  </a:extLst>
                </a:gridCol>
                <a:gridCol w="1286729">
                  <a:extLst>
                    <a:ext uri="{9D8B030D-6E8A-4147-A177-3AD203B41FA5}">
                      <a16:colId xmlns:a16="http://schemas.microsoft.com/office/drawing/2014/main" val="699228783"/>
                    </a:ext>
                  </a:extLst>
                </a:gridCol>
                <a:gridCol w="1286729">
                  <a:extLst>
                    <a:ext uri="{9D8B030D-6E8A-4147-A177-3AD203B41FA5}">
                      <a16:colId xmlns:a16="http://schemas.microsoft.com/office/drawing/2014/main" val="1129905075"/>
                    </a:ext>
                  </a:extLst>
                </a:gridCol>
                <a:gridCol w="1286729">
                  <a:extLst>
                    <a:ext uri="{9D8B030D-6E8A-4147-A177-3AD203B41FA5}">
                      <a16:colId xmlns:a16="http://schemas.microsoft.com/office/drawing/2014/main" val="1451099684"/>
                    </a:ext>
                  </a:extLst>
                </a:gridCol>
                <a:gridCol w="1286729">
                  <a:extLst>
                    <a:ext uri="{9D8B030D-6E8A-4147-A177-3AD203B41FA5}">
                      <a16:colId xmlns:a16="http://schemas.microsoft.com/office/drawing/2014/main" val="2361683877"/>
                    </a:ext>
                  </a:extLst>
                </a:gridCol>
                <a:gridCol w="1286729">
                  <a:extLst>
                    <a:ext uri="{9D8B030D-6E8A-4147-A177-3AD203B41FA5}">
                      <a16:colId xmlns:a16="http://schemas.microsoft.com/office/drawing/2014/main" val="1355610197"/>
                    </a:ext>
                  </a:extLst>
                </a:gridCol>
                <a:gridCol w="1286729">
                  <a:extLst>
                    <a:ext uri="{9D8B030D-6E8A-4147-A177-3AD203B41FA5}">
                      <a16:colId xmlns:a16="http://schemas.microsoft.com/office/drawing/2014/main" val="3030224932"/>
                    </a:ext>
                  </a:extLst>
                </a:gridCol>
              </a:tblGrid>
              <a:tr h="519101">
                <a:tc rowSpan="2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 Nova" panose="020B0504020202020204" pitchFamily="34" charset="0"/>
                        </a:rPr>
                        <a:t>Outcom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 Nova" panose="020B0504020202020204" pitchFamily="34" charset="0"/>
                        </a:rPr>
                        <a:t>Outpu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 Nova" panose="020B0504020202020204" pitchFamily="34" charset="0"/>
                        </a:rPr>
                        <a:t>Output Indicator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b="1" dirty="0"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Estimated Performance</a:t>
                      </a: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b="1" dirty="0"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2021/22</a:t>
                      </a:r>
                      <a:endParaRPr lang="en-US" sz="1100" dirty="0">
                        <a:effectLst/>
                        <a:latin typeface="Arial Nova" panose="020B0504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 Nova" panose="020B0504020202020204" pitchFamily="34" charset="0"/>
                        </a:rPr>
                        <a:t>MTEF Target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06251596"/>
                  </a:ext>
                </a:extLst>
              </a:tr>
              <a:tr h="495557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b="1" kern="1200" dirty="0">
                          <a:solidFill>
                            <a:schemeClr val="lt1"/>
                          </a:solidFill>
                          <a:effectLst/>
                          <a:latin typeface="Arial Nova" panose="020B0504020202020204" pitchFamily="34" charset="0"/>
                          <a:cs typeface="Times New Roman" panose="02020603050405020304" pitchFamily="18" charset="0"/>
                        </a:rPr>
                        <a:t>Annual Target 2022/23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b="1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2023/24</a:t>
                      </a:r>
                      <a:endParaRPr lang="en-US" sz="11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Arial Nova" panose="020B0504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b="1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2024/2025</a:t>
                      </a:r>
                      <a:endParaRPr lang="en-US" sz="11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Arial Nova" panose="020B0504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8272784"/>
                  </a:ext>
                </a:extLst>
              </a:tr>
              <a:tr h="111516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daptive learning and decision making is improved through use of strategic information and evidence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ational Health Research Priorities identified to generate the required knowledge for the South African health system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nnually Revised set of Health research priorities produced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evised set of Health research priorities produced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evised set of Health Research Priorities produced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evised set of Health Research Priorities produced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t applicable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98857576"/>
                  </a:ext>
                </a:extLst>
              </a:tr>
              <a:tr h="120889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daptive learning and decision making is improved through use of strategic information and evidence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Performance dashboards for national, provincial and district levels developed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Performance dashboards for national, provincial and district levels developed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t Applicable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erformance dashboards for national, provincial and district levels developed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erformance dashboards implemented in 9 x Provincial Head Offices, and 52x District</a:t>
                      </a: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Offices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erformance dashboards implemented in 9 x Provincial Head Offices, and 52x District Offices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69677233"/>
                  </a:ext>
                </a:extLst>
              </a:tr>
              <a:tr h="111516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Quality and Safety of Care Improved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HC Facilities and  Hospitals implementing the National Health Quality Improvement Programme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umber of health facilities implementing the National Health Quality Improvement </a:t>
                      </a:r>
                      <a:r>
                        <a:rPr lang="en-US" sz="10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rogramme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0 PHC Facilities and 80 Hospitals implementing the National Quality Improvement Programme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0 PHC Facilities and 80 Hospitals implementing the National Health Quality Improvement </a:t>
                      </a:r>
                      <a:r>
                        <a:rPr lang="en-US" sz="10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rogramme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0 PHC Facilities and 160 Hospitals implementing the National Health Quality Improvement Programme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00 PHC Facilities and 240 Hospitals implementing the National Health Quality Improvement </a:t>
                      </a:r>
                      <a:r>
                        <a:rPr lang="en-US" sz="10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rogramme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7036030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DB6AD525-3603-4E08-AFBB-44D1659EC1DB}"/>
              </a:ext>
            </a:extLst>
          </p:cNvPr>
          <p:cNvSpPr txBox="1"/>
          <p:nvPr/>
        </p:nvSpPr>
        <p:spPr>
          <a:xfrm>
            <a:off x="0" y="260648"/>
            <a:ext cx="6993109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</a:t>
            </a:r>
            <a:r>
              <a:rPr lang="en-US" sz="2400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gramme</a:t>
            </a:r>
            <a:r>
              <a:rPr lang="en-US" sz="24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6:Health System Governance and Human Resources</a:t>
            </a:r>
            <a:endParaRPr lang="en-US" sz="16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85118745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E4298AAE-E9C8-41B1-85D9-BB0A857C682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4721475"/>
              </p:ext>
            </p:extLst>
          </p:nvPr>
        </p:nvGraphicFramePr>
        <p:xfrm>
          <a:off x="179511" y="1193027"/>
          <a:ext cx="8816207" cy="4471945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131377">
                  <a:extLst>
                    <a:ext uri="{9D8B030D-6E8A-4147-A177-3AD203B41FA5}">
                      <a16:colId xmlns:a16="http://schemas.microsoft.com/office/drawing/2014/main" val="2270940587"/>
                    </a:ext>
                  </a:extLst>
                </a:gridCol>
                <a:gridCol w="1280805">
                  <a:extLst>
                    <a:ext uri="{9D8B030D-6E8A-4147-A177-3AD203B41FA5}">
                      <a16:colId xmlns:a16="http://schemas.microsoft.com/office/drawing/2014/main" val="699228783"/>
                    </a:ext>
                  </a:extLst>
                </a:gridCol>
                <a:gridCol w="1280805">
                  <a:extLst>
                    <a:ext uri="{9D8B030D-6E8A-4147-A177-3AD203B41FA5}">
                      <a16:colId xmlns:a16="http://schemas.microsoft.com/office/drawing/2014/main" val="1129905075"/>
                    </a:ext>
                  </a:extLst>
                </a:gridCol>
                <a:gridCol w="1280805">
                  <a:extLst>
                    <a:ext uri="{9D8B030D-6E8A-4147-A177-3AD203B41FA5}">
                      <a16:colId xmlns:a16="http://schemas.microsoft.com/office/drawing/2014/main" val="1451099684"/>
                    </a:ext>
                  </a:extLst>
                </a:gridCol>
                <a:gridCol w="1280805">
                  <a:extLst>
                    <a:ext uri="{9D8B030D-6E8A-4147-A177-3AD203B41FA5}">
                      <a16:colId xmlns:a16="http://schemas.microsoft.com/office/drawing/2014/main" val="2361683877"/>
                    </a:ext>
                  </a:extLst>
                </a:gridCol>
                <a:gridCol w="1280805">
                  <a:extLst>
                    <a:ext uri="{9D8B030D-6E8A-4147-A177-3AD203B41FA5}">
                      <a16:colId xmlns:a16="http://schemas.microsoft.com/office/drawing/2014/main" val="1355610197"/>
                    </a:ext>
                  </a:extLst>
                </a:gridCol>
                <a:gridCol w="1280805">
                  <a:extLst>
                    <a:ext uri="{9D8B030D-6E8A-4147-A177-3AD203B41FA5}">
                      <a16:colId xmlns:a16="http://schemas.microsoft.com/office/drawing/2014/main" val="3030224932"/>
                    </a:ext>
                  </a:extLst>
                </a:gridCol>
              </a:tblGrid>
              <a:tr h="519101">
                <a:tc rowSpan="2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 Nova" panose="020B0504020202020204" pitchFamily="34" charset="0"/>
                        </a:rPr>
                        <a:t>Outcom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 Nova" panose="020B0504020202020204" pitchFamily="34" charset="0"/>
                        </a:rPr>
                        <a:t>Outpu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 Nova" panose="020B0504020202020204" pitchFamily="34" charset="0"/>
                        </a:rPr>
                        <a:t>Output Indicator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b="1" dirty="0"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Estimated Performance</a:t>
                      </a: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b="1" dirty="0"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2021/22</a:t>
                      </a:r>
                      <a:endParaRPr lang="en-US" sz="1100" dirty="0">
                        <a:effectLst/>
                        <a:latin typeface="Arial Nova" panose="020B0504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 Nova" panose="020B0504020202020204" pitchFamily="34" charset="0"/>
                        </a:rPr>
                        <a:t>MTEF Target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06251596"/>
                  </a:ext>
                </a:extLst>
              </a:tr>
              <a:tr h="495557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b="1" kern="1200" dirty="0">
                          <a:solidFill>
                            <a:schemeClr val="lt1"/>
                          </a:solidFill>
                          <a:effectLst/>
                          <a:latin typeface="Arial Nova" panose="020B0504020202020204" pitchFamily="34" charset="0"/>
                          <a:cs typeface="Times New Roman" panose="02020603050405020304" pitchFamily="18" charset="0"/>
                        </a:rPr>
                        <a:t>Annual Target 2022/23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b="1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2023/24</a:t>
                      </a:r>
                      <a:endParaRPr lang="en-US" sz="11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Arial Nova" panose="020B0504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b="1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2024/2025</a:t>
                      </a:r>
                      <a:endParaRPr lang="en-US" sz="11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Arial Nova" panose="020B0504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8272784"/>
                  </a:ext>
                </a:extLst>
              </a:tr>
              <a:tr h="111516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Quality and Safety of Care Improved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HC facilities that qualify as Ideal Clinics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umber of primary health care facilities that qualify as ideal clinics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100  PHC facilities qualify as Ideal Clinics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2200 PHC facilities that qualify as Ideal Clinics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250 PHC facilities that qualify as Ideal Clinics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2600 PHC facilities that qualify as Ideal Clinics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98857576"/>
                  </a:ext>
                </a:extLst>
              </a:tr>
              <a:tr h="120889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taff equitably distributed and have right skills and attitudes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ommunity service policy reviewed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ommunity service policy review report and recommendations produced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t Applicable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ommunity service policy review report with recommendations </a:t>
                      </a:r>
                      <a:r>
                        <a:rPr lang="en-US" sz="10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inalised</a:t>
                      </a: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and presented to Tech NHC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mplementation of the Reviewed Policy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t applicable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69677233"/>
                  </a:ext>
                </a:extLst>
              </a:tr>
              <a:tr h="111516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taff equitably distributed and have right skills and attitudes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acilitate implementation of the HRH plan 2020/21-2024/25 to address human resources requirements  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HR Information System implemented at National </a:t>
                      </a:r>
                      <a:r>
                        <a:rPr lang="en-US" sz="10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oH</a:t>
                      </a: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and Provincial Head Offices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HR Information System operational</a:t>
                      </a: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and 41% of the HRIS transition / institutionalization framework activities achieved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Utilization and functionality of HRIS for HRH planning extended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oll out of HRIS to Health Districts and facilities                             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HRIS transitioned to the </a:t>
                      </a:r>
                      <a:r>
                        <a:rPr lang="en-US" sz="1100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DoH</a:t>
                      </a: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HRIS unit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7036030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DB6AD525-3603-4E08-AFBB-44D1659EC1DB}"/>
              </a:ext>
            </a:extLst>
          </p:cNvPr>
          <p:cNvSpPr txBox="1"/>
          <p:nvPr/>
        </p:nvSpPr>
        <p:spPr>
          <a:xfrm>
            <a:off x="0" y="260648"/>
            <a:ext cx="6993109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</a:t>
            </a:r>
            <a:r>
              <a:rPr lang="en-US" sz="2400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gramme</a:t>
            </a:r>
            <a:r>
              <a:rPr lang="en-US" sz="24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6:Health System Governance and Human Resources</a:t>
            </a:r>
            <a:endParaRPr lang="en-US" sz="16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6697602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BDB0FD-0DCE-4D6A-BD25-430BB7C5B9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1560" y="116632"/>
            <a:ext cx="6463630" cy="543595"/>
          </a:xfrm>
        </p:spPr>
        <p:txBody>
          <a:bodyPr/>
          <a:lstStyle/>
          <a:p>
            <a:r>
              <a:rPr lang="en-ZA" dirty="0"/>
              <a:t>Basis and Context of the National DoH Strategic Plan and APP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8D338FA-D443-4D87-ADA4-8C453895E84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9512" y="1052736"/>
            <a:ext cx="8856984" cy="4608512"/>
          </a:xfrm>
        </p:spPr>
        <p:txBody>
          <a:bodyPr/>
          <a:lstStyle/>
          <a:p>
            <a:pPr marL="358775" indent="-358775">
              <a:buFont typeface="Wingdings" panose="05000000000000000000" pitchFamily="2" charset="2"/>
              <a:buChar char="ü"/>
            </a:pPr>
            <a:r>
              <a:rPr lang="en-US" sz="2000" b="1" dirty="0"/>
              <a:t>National DoH Strategic Plan 2020/21 -2024/25 and Annual Performance Plan 2022/23:</a:t>
            </a:r>
          </a:p>
          <a:p>
            <a:pPr marL="815975" lvl="1" indent="-358775">
              <a:buFont typeface="Arial" panose="020B0604020202020204" pitchFamily="34" charset="0"/>
              <a:buChar char="•"/>
            </a:pPr>
            <a:r>
              <a:rPr lang="en-US" sz="1600" b="1" dirty="0"/>
              <a:t>Founded on government’s 2030 vision </a:t>
            </a:r>
            <a:r>
              <a:rPr lang="en-US" sz="1600" dirty="0"/>
              <a:t>outlined in the National Development Plan 2030, and Sustainable Development Goals.</a:t>
            </a:r>
          </a:p>
          <a:p>
            <a:pPr marL="815975" lvl="1" indent="-358775">
              <a:buFont typeface="Arial" panose="020B0604020202020204" pitchFamily="34" charset="0"/>
              <a:buChar char="•"/>
            </a:pPr>
            <a:r>
              <a:rPr lang="en-US" sz="1600" dirty="0"/>
              <a:t>Derived its </a:t>
            </a:r>
            <a:r>
              <a:rPr lang="en-US" sz="1600" b="1" dirty="0"/>
              <a:t>mandate from MTSF 2019-2024</a:t>
            </a:r>
            <a:r>
              <a:rPr lang="en-US" sz="1600" dirty="0"/>
              <a:t>;</a:t>
            </a:r>
          </a:p>
          <a:p>
            <a:pPr marL="0" indent="0" defTabSz="671513">
              <a:buNone/>
            </a:pPr>
            <a:r>
              <a:rPr lang="en-ZA" sz="1600" dirty="0"/>
              <a:t> 		</a:t>
            </a:r>
            <a:r>
              <a:rPr lang="en-ZA" sz="1600" u="sng" dirty="0"/>
              <a:t>MTSF Impact Statements for Health</a:t>
            </a:r>
          </a:p>
          <a:p>
            <a:pPr lvl="3"/>
            <a:r>
              <a:rPr lang="en-US" sz="1400" dirty="0"/>
              <a:t>Universal Health Coverage for all South Africans progressively achieved and all citizens protected from the catastrophic financial impact of seeking health care by 2030 through the implementation of NHI Policy</a:t>
            </a:r>
          </a:p>
          <a:p>
            <a:pPr lvl="3"/>
            <a:r>
              <a:rPr lang="en-US" sz="1400" dirty="0"/>
              <a:t>Life expectancy of South Africans improved to 66.6 years by 2024, and 70 years by 2030</a:t>
            </a:r>
          </a:p>
          <a:p>
            <a:pPr marL="815975" lvl="1" indent="-358775">
              <a:buFont typeface="Arial" panose="020B0604020202020204" pitchFamily="34" charset="0"/>
              <a:buChar char="•"/>
            </a:pPr>
            <a:r>
              <a:rPr lang="en-US" sz="1600" b="1" dirty="0"/>
              <a:t>Recognizes the NHI policy </a:t>
            </a:r>
            <a:r>
              <a:rPr lang="en-US" sz="1600" dirty="0"/>
              <a:t>directive of government, noting </a:t>
            </a:r>
            <a:r>
              <a:rPr lang="en-US" sz="1600" b="1" dirty="0"/>
              <a:t>the consultations on the NHI Bill</a:t>
            </a:r>
            <a:r>
              <a:rPr lang="en-US" sz="1600" dirty="0"/>
              <a:t> led by Parliament ;</a:t>
            </a:r>
          </a:p>
          <a:p>
            <a:pPr marL="815975" lvl="1" indent="-358775">
              <a:buFont typeface="Arial" panose="020B0604020202020204" pitchFamily="34" charset="0"/>
              <a:buChar char="•"/>
            </a:pPr>
            <a:r>
              <a:rPr lang="en-US" sz="1600" dirty="0"/>
              <a:t>Responds to key diagnostics provided by </a:t>
            </a:r>
            <a:r>
              <a:rPr lang="en-US" sz="1600" b="1" dirty="0"/>
              <a:t>Presidential health summit compact</a:t>
            </a:r>
            <a:r>
              <a:rPr lang="en-US" sz="1600" dirty="0"/>
              <a:t>; recommendations from the </a:t>
            </a:r>
            <a:r>
              <a:rPr lang="en-US" sz="1600" b="1" dirty="0"/>
              <a:t>Lancet quality commission</a:t>
            </a:r>
            <a:r>
              <a:rPr lang="en-US" sz="1600" dirty="0"/>
              <a:t>; recommendations by the </a:t>
            </a:r>
            <a:r>
              <a:rPr lang="en-US" sz="1600" b="1" dirty="0"/>
              <a:t>Health Market Inquiry</a:t>
            </a:r>
            <a:r>
              <a:rPr lang="en-US" sz="1600" dirty="0"/>
              <a:t>; and the </a:t>
            </a:r>
            <a:r>
              <a:rPr lang="en-US" sz="1600" b="1" dirty="0"/>
              <a:t>South African Demographic and Health survey</a:t>
            </a:r>
          </a:p>
          <a:p>
            <a:pPr marL="457200" lvl="1" indent="0">
              <a:buNone/>
            </a:pPr>
            <a:endParaRPr lang="en-US" sz="1800" dirty="0"/>
          </a:p>
          <a:p>
            <a:pPr marL="815975" lvl="1" indent="-358775">
              <a:buFont typeface="Arial" panose="020B0604020202020204" pitchFamily="34" charset="0"/>
              <a:buChar char="•"/>
            </a:pPr>
            <a:endParaRPr lang="en-US" sz="2000" b="1" dirty="0"/>
          </a:p>
          <a:p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95585814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en-US" sz="3600" dirty="0">
                <a:latin typeface="Arial Black" pitchFamily="34" charset="0"/>
              </a:rPr>
              <a:t>RESOURCE ENVELOPE FOR IMPLEMENTING OF THE NATIONAL DOH PLANS FOR 2022 to 2025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240995291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extBox 1"/>
          <p:cNvSpPr txBox="1">
            <a:spLocks noChangeArrowheads="1"/>
          </p:cNvSpPr>
          <p:nvPr/>
        </p:nvSpPr>
        <p:spPr bwMode="auto">
          <a:xfrm>
            <a:off x="762000" y="1357313"/>
            <a:ext cx="7924800" cy="830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US" altLang="en-US" sz="2400" b="1">
              <a:solidFill>
                <a:srgbClr val="000000"/>
              </a:solidFill>
            </a:endParaRPr>
          </a:p>
          <a:p>
            <a:pPr algn="just" eaLnBrk="1" hangingPunct="1"/>
            <a:endParaRPr lang="en-US" altLang="en-US" sz="2400">
              <a:solidFill>
                <a:srgbClr val="7F7F7F"/>
              </a:solidFill>
            </a:endParaRPr>
          </a:p>
        </p:txBody>
      </p:sp>
      <p:sp>
        <p:nvSpPr>
          <p:cNvPr id="13315" name="Slide Number Placeholder 19"/>
          <p:cNvSpPr txBox="1">
            <a:spLocks/>
          </p:cNvSpPr>
          <p:nvPr/>
        </p:nvSpPr>
        <p:spPr bwMode="auto">
          <a:xfrm>
            <a:off x="6553200" y="6356350"/>
            <a:ext cx="213360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/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000375" y="5786438"/>
            <a:ext cx="1571625" cy="107156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ZA" dirty="0">
              <a:solidFill>
                <a:prstClr val="white"/>
              </a:solidFill>
            </a:endParaRPr>
          </a:p>
        </p:txBody>
      </p:sp>
      <p:sp>
        <p:nvSpPr>
          <p:cNvPr id="13317" name="Title 7"/>
          <p:cNvSpPr>
            <a:spLocks noGrp="1"/>
          </p:cNvSpPr>
          <p:nvPr>
            <p:ph type="title" idx="4294967295"/>
          </p:nvPr>
        </p:nvSpPr>
        <p:spPr bwMode="auto">
          <a:xfrm>
            <a:off x="914400" y="5715000"/>
            <a:ext cx="7834313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r" eaLnBrk="1" hangingPunct="1"/>
            <a:fld id="{7DF3E992-93F5-4A00-8DCF-B4B25CBA9AB1}" type="slidenum">
              <a:rPr lang="en-ZA" altLang="en-US" sz="1200" smtClean="0">
                <a:latin typeface="Arial" panose="020B0604020202020204" pitchFamily="34" charset="0"/>
                <a:cs typeface="Arial" panose="020B0604020202020204" pitchFamily="34" charset="0"/>
              </a:rPr>
              <a:pPr algn="r" eaLnBrk="1" hangingPunct="1"/>
              <a:t>31</a:t>
            </a:fld>
            <a:r>
              <a:rPr lang="en-ZA" altLang="en-US"/>
              <a:t> </a:t>
            </a:r>
          </a:p>
        </p:txBody>
      </p:sp>
      <p:sp>
        <p:nvSpPr>
          <p:cNvPr id="13318" name="Rectangle 2"/>
          <p:cNvSpPr txBox="1">
            <a:spLocks noChangeArrowheads="1"/>
          </p:cNvSpPr>
          <p:nvPr/>
        </p:nvSpPr>
        <p:spPr bwMode="auto">
          <a:xfrm>
            <a:off x="762000" y="-285750"/>
            <a:ext cx="5562600" cy="99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2800" b="1" dirty="0">
                <a:solidFill>
                  <a:srgbClr val="FFFFFF"/>
                </a:solidFill>
              </a:rPr>
              <a:t>          Summary per Programme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1559" y="1772816"/>
            <a:ext cx="7920881" cy="2232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606307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itle 1"/>
          <p:cNvSpPr>
            <a:spLocks noGrp="1"/>
          </p:cNvSpPr>
          <p:nvPr>
            <p:ph type="title" idx="4294967295"/>
          </p:nvPr>
        </p:nvSpPr>
        <p:spPr bwMode="auto">
          <a:xfrm>
            <a:off x="971550" y="5951538"/>
            <a:ext cx="7834313" cy="431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r" eaLnBrk="1" hangingPunct="1"/>
            <a:fld id="{89CD5BC2-44F2-435A-BB65-3BF8572D4399}" type="slidenum">
              <a:rPr lang="en-ZA" altLang="en-US" sz="1200" smtClean="0">
                <a:latin typeface="Arial" panose="020B0604020202020204" pitchFamily="34" charset="0"/>
                <a:cs typeface="Arial" panose="020B0604020202020204" pitchFamily="34" charset="0"/>
              </a:rPr>
              <a:pPr algn="r" eaLnBrk="1" hangingPunct="1"/>
              <a:t>32</a:t>
            </a:fld>
            <a:r>
              <a:rPr lang="en-ZA" altLang="en-US" sz="12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5363" name="Rectangle 2"/>
          <p:cNvSpPr txBox="1">
            <a:spLocks noChangeArrowheads="1"/>
          </p:cNvSpPr>
          <p:nvPr/>
        </p:nvSpPr>
        <p:spPr bwMode="auto">
          <a:xfrm>
            <a:off x="642938" y="-71438"/>
            <a:ext cx="5562600" cy="9906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GB" altLang="en-US" sz="2800" b="1">
                <a:solidFill>
                  <a:srgbClr val="FFFFFF"/>
                </a:solidFill>
              </a:rPr>
              <a:t>         Summary per    </a:t>
            </a:r>
          </a:p>
          <a:p>
            <a:pPr algn="ctr" eaLnBrk="1" hangingPunct="1"/>
            <a:r>
              <a:rPr lang="en-GB" altLang="en-US" sz="2800" b="1">
                <a:solidFill>
                  <a:srgbClr val="FFFFFF"/>
                </a:solidFill>
              </a:rPr>
              <a:t>         Economic Classification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9552" y="1844824"/>
            <a:ext cx="7992888" cy="2160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609681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323528" y="1340768"/>
            <a:ext cx="8424936" cy="37412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n-ZA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e vote baseline has been increased to provide for the effects of a possible wage agreement and cash gratuity payments.</a:t>
            </a:r>
            <a:endParaRPr lang="en-ZA" sz="1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n-ZA" b="1" u="sng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mpensation of employees:</a:t>
            </a:r>
            <a:endParaRPr lang="en-ZA" sz="1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n-ZA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e COE ceiling was reduced by 7% due to the shifting of the Forensic Chemistry Laboratories from the Department’s core budget to the National Health Laboratories Services transfer payment.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n-ZA" b="1" u="sng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oods &amp; services:</a:t>
            </a:r>
            <a:endParaRPr lang="en-ZA" sz="1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07000"/>
              </a:lnSpc>
              <a:spcAft>
                <a:spcPts val="0"/>
              </a:spcAft>
              <a:buFont typeface="+mj-lt"/>
              <a:buAutoNum type="arabicPeriod"/>
            </a:pPr>
            <a:r>
              <a:rPr lang="en-ZA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e allocation for Covid-19 was reduced by 52% from 2021/22 financial year to 2022/23 ( from R4.3 billion to R2.1 million).</a:t>
            </a:r>
          </a:p>
          <a:p>
            <a:pPr marL="342900" lvl="0" indent="-342900" algn="just">
              <a:lnSpc>
                <a:spcPct val="107000"/>
              </a:lnSpc>
              <a:spcAft>
                <a:spcPts val="0"/>
              </a:spcAft>
              <a:buFont typeface="+mj-lt"/>
              <a:buAutoNum type="arabicPeriod"/>
            </a:pPr>
            <a:r>
              <a:rPr lang="en-ZA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llocation for National Health Insurance indirect grant was reallocated to the National Health Insurance and Human Resources and Training direct grants.</a:t>
            </a: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1223628" y="16879"/>
            <a:ext cx="6624736" cy="7041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2800" b="1" dirty="0">
                <a:solidFill>
                  <a:srgbClr val="FFFFFF"/>
                </a:solidFill>
              </a:rPr>
              <a:t>REASONS FOR DEVIATIONS</a:t>
            </a:r>
          </a:p>
        </p:txBody>
      </p:sp>
    </p:spTree>
    <p:extLst>
      <p:ext uri="{BB962C8B-B14F-4D97-AF65-F5344CB8AC3E}">
        <p14:creationId xmlns:p14="http://schemas.microsoft.com/office/powerpoint/2010/main" val="382928890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 txBox="1">
            <a:spLocks noChangeArrowheads="1"/>
          </p:cNvSpPr>
          <p:nvPr/>
        </p:nvSpPr>
        <p:spPr bwMode="auto">
          <a:xfrm>
            <a:off x="1115616" y="7383"/>
            <a:ext cx="6624736" cy="7041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2800" b="1" dirty="0">
                <a:solidFill>
                  <a:srgbClr val="FFFFFF"/>
                </a:solidFill>
              </a:rPr>
              <a:t>REASONS FOR DEVIATIONS</a:t>
            </a:r>
          </a:p>
        </p:txBody>
      </p:sp>
      <p:sp>
        <p:nvSpPr>
          <p:cNvPr id="3" name="Rectangle 2"/>
          <p:cNvSpPr/>
          <p:nvPr/>
        </p:nvSpPr>
        <p:spPr>
          <a:xfrm>
            <a:off x="298376" y="1196753"/>
            <a:ext cx="8738120" cy="38538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n-ZA" b="1" u="sng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ransfers &amp; subsidies:</a:t>
            </a:r>
            <a:endParaRPr lang="en-ZA" sz="1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07000"/>
              </a:lnSpc>
              <a:spcAft>
                <a:spcPts val="0"/>
              </a:spcAft>
              <a:buFont typeface="+mj-lt"/>
              <a:buAutoNum type="arabicPeriod"/>
            </a:pPr>
            <a:r>
              <a:rPr lang="en-ZA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crease in Conditional Grants is due to the reallocation the National Health Insurance indirect grants to National Health Insurance and Human Resources and Training direct grants.</a:t>
            </a:r>
          </a:p>
          <a:p>
            <a:pPr marL="342900" lvl="0" indent="-342900" algn="just">
              <a:lnSpc>
                <a:spcPct val="107000"/>
              </a:lnSpc>
              <a:spcAft>
                <a:spcPts val="0"/>
              </a:spcAft>
              <a:buFont typeface="+mj-lt"/>
              <a:buAutoNum type="arabicPeriod"/>
            </a:pPr>
            <a:r>
              <a:rPr lang="en-ZA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 additional amount of R758.684 million was allocated to Conditional Grants towards cash gratuity payments. </a:t>
            </a:r>
          </a:p>
          <a:p>
            <a:pPr marL="342900" lvl="0" indent="-342900" algn="just">
              <a:lnSpc>
                <a:spcPct val="107000"/>
              </a:lnSpc>
              <a:spcAft>
                <a:spcPts val="0"/>
              </a:spcAft>
              <a:buFont typeface="+mj-lt"/>
              <a:buAutoNum type="arabicPeriod"/>
            </a:pPr>
            <a:endParaRPr lang="en-ZA" dirty="0"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n-ZA" b="1" u="sng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urchase of capital assets:</a:t>
            </a:r>
            <a:endParaRPr lang="en-ZA" sz="1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0" algn="just">
              <a:lnSpc>
                <a:spcPct val="107000"/>
              </a:lnSpc>
              <a:spcAft>
                <a:spcPts val="0"/>
              </a:spcAft>
            </a:pPr>
            <a:r>
              <a:rPr lang="en-ZA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e capital funds of the Health Facility Revitalization and National Health Insurance indirect grants were increased by 19% ( from R1.1 billion to R1.3 billion) and 65%  (from R19 million to R53 million) respectively from 2021/22 to 2022/23 financial year.</a:t>
            </a:r>
          </a:p>
          <a:p>
            <a:pPr marL="342900" lvl="0" indent="-342900" algn="just">
              <a:lnSpc>
                <a:spcPct val="107000"/>
              </a:lnSpc>
              <a:spcAft>
                <a:spcPts val="0"/>
              </a:spcAft>
              <a:buFont typeface="+mj-lt"/>
              <a:buAutoNum type="arabicPeriod"/>
            </a:pPr>
            <a:endParaRPr lang="en-ZA" dirty="0"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8912215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 txBox="1">
            <a:spLocks noChangeArrowheads="1"/>
          </p:cNvSpPr>
          <p:nvPr/>
        </p:nvSpPr>
        <p:spPr bwMode="auto">
          <a:xfrm>
            <a:off x="827584" y="12454"/>
            <a:ext cx="6624736" cy="7041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2800" b="1" dirty="0">
                <a:solidFill>
                  <a:srgbClr val="FFFFFF"/>
                </a:solidFill>
              </a:rPr>
              <a:t>PROGRAMME 1: ADMINISTRATION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552" y="1628800"/>
            <a:ext cx="8064896" cy="2448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159793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 txBox="1">
            <a:spLocks noChangeArrowheads="1"/>
          </p:cNvSpPr>
          <p:nvPr/>
        </p:nvSpPr>
        <p:spPr bwMode="auto">
          <a:xfrm>
            <a:off x="827584" y="12454"/>
            <a:ext cx="6624736" cy="7041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2800" b="1" dirty="0">
                <a:solidFill>
                  <a:srgbClr val="FFFFFF"/>
                </a:solidFill>
              </a:rPr>
              <a:t>PROGRAMME 1: ADMINISTRATION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3568" y="1844824"/>
            <a:ext cx="7741313" cy="2160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8538896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 txBox="1">
            <a:spLocks noChangeArrowheads="1"/>
          </p:cNvSpPr>
          <p:nvPr/>
        </p:nvSpPr>
        <p:spPr bwMode="auto">
          <a:xfrm>
            <a:off x="827584" y="260648"/>
            <a:ext cx="6624736" cy="7041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GB" altLang="en-US" sz="2800" b="1" dirty="0">
                <a:solidFill>
                  <a:srgbClr val="FFFFFF"/>
                </a:solidFill>
              </a:rPr>
              <a:t>PROGRAMME 2: NATIONAL HEALTH INSURANCE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552" y="1268760"/>
            <a:ext cx="8136905" cy="4176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4719921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 txBox="1">
            <a:spLocks noChangeArrowheads="1"/>
          </p:cNvSpPr>
          <p:nvPr/>
        </p:nvSpPr>
        <p:spPr bwMode="auto">
          <a:xfrm>
            <a:off x="611560" y="332656"/>
            <a:ext cx="6624736" cy="7041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GB" altLang="en-US" sz="2800" b="1" dirty="0">
                <a:solidFill>
                  <a:srgbClr val="FFFFFF"/>
                </a:solidFill>
              </a:rPr>
              <a:t>PROGRAMME 2:  NATIONAL HEALTH INSURANCE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3568" y="1700808"/>
            <a:ext cx="7848872" cy="2088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5118063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 txBox="1">
            <a:spLocks noChangeArrowheads="1"/>
          </p:cNvSpPr>
          <p:nvPr/>
        </p:nvSpPr>
        <p:spPr bwMode="auto">
          <a:xfrm>
            <a:off x="323528" y="332656"/>
            <a:ext cx="6912768" cy="7041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GB" altLang="en-US" sz="2800" b="1" dirty="0">
                <a:solidFill>
                  <a:srgbClr val="FFFFFF"/>
                </a:solidFill>
              </a:rPr>
              <a:t>PROGRAMME 3:  COMMUNICABLE AND NON-COMMUNICABLE DISEASE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7544" y="1196752"/>
            <a:ext cx="8136904" cy="44644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880626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53F8DE6-D30F-431F-9424-4AFA24DCA2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3041" y="2348880"/>
            <a:ext cx="3732088" cy="2007294"/>
          </a:xfrm>
        </p:spPr>
        <p:txBody>
          <a:bodyPr/>
          <a:lstStyle/>
          <a:p>
            <a:pPr algn="ctr"/>
            <a:r>
              <a:rPr lang="en-ZA" dirty="0"/>
              <a:t>Annual Performance Plan 2022/23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C149E66-18AE-490A-ABAA-ABDE786236E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32040" y="1050761"/>
            <a:ext cx="3816424" cy="47564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541517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 txBox="1">
            <a:spLocks noChangeArrowheads="1"/>
          </p:cNvSpPr>
          <p:nvPr/>
        </p:nvSpPr>
        <p:spPr bwMode="auto">
          <a:xfrm>
            <a:off x="323528" y="332656"/>
            <a:ext cx="6912768" cy="7041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GB" altLang="en-US" sz="2800" b="1" dirty="0">
                <a:solidFill>
                  <a:srgbClr val="FFFFFF"/>
                </a:solidFill>
              </a:rPr>
              <a:t>PROGRAMME 3:  COMMUNICABLE AND NON-COMMUNICABLE DISEASES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3568" y="1772816"/>
            <a:ext cx="7813321" cy="207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554517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 txBox="1">
            <a:spLocks noChangeArrowheads="1"/>
          </p:cNvSpPr>
          <p:nvPr/>
        </p:nvSpPr>
        <p:spPr bwMode="auto">
          <a:xfrm>
            <a:off x="323528" y="332656"/>
            <a:ext cx="6912768" cy="7041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GB" altLang="en-US" sz="2800" b="1" dirty="0">
                <a:solidFill>
                  <a:srgbClr val="FFFFFF"/>
                </a:solidFill>
              </a:rPr>
              <a:t>PROGRAMME 4:  PRIMARY HEALTH CARE SERVICE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5577" y="1772816"/>
            <a:ext cx="7704856" cy="23004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578031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 txBox="1">
            <a:spLocks noChangeArrowheads="1"/>
          </p:cNvSpPr>
          <p:nvPr/>
        </p:nvSpPr>
        <p:spPr bwMode="auto">
          <a:xfrm>
            <a:off x="323528" y="332656"/>
            <a:ext cx="6912768" cy="7041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GB" altLang="en-US" sz="2800" b="1" dirty="0">
                <a:solidFill>
                  <a:srgbClr val="FFFFFF"/>
                </a:solidFill>
              </a:rPr>
              <a:t>PROGRAMME 4:  PRIMARY HEALTH CARE SERVICE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3568" y="1700808"/>
            <a:ext cx="7741313" cy="207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8511744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 txBox="1">
            <a:spLocks noChangeArrowheads="1"/>
          </p:cNvSpPr>
          <p:nvPr/>
        </p:nvSpPr>
        <p:spPr bwMode="auto">
          <a:xfrm>
            <a:off x="323528" y="116632"/>
            <a:ext cx="6912768" cy="7041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GB" altLang="en-US" sz="2800" b="1" dirty="0">
                <a:solidFill>
                  <a:srgbClr val="FFFFFF"/>
                </a:solidFill>
              </a:rPr>
              <a:t>PROGRAMME 5:  HOSPITAL SYSTEMS  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1559" y="1700808"/>
            <a:ext cx="7848873" cy="2482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8774077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 txBox="1">
            <a:spLocks noChangeArrowheads="1"/>
          </p:cNvSpPr>
          <p:nvPr/>
        </p:nvSpPr>
        <p:spPr bwMode="auto">
          <a:xfrm>
            <a:off x="323528" y="116632"/>
            <a:ext cx="6912768" cy="7041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GB" altLang="en-US" sz="2800" b="1" dirty="0">
                <a:solidFill>
                  <a:srgbClr val="FFFFFF"/>
                </a:solidFill>
              </a:rPr>
              <a:t>PROGRAMME 5:  HOSPITAL SYSTEMS  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5576" y="1916832"/>
            <a:ext cx="7741313" cy="207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9687778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 txBox="1">
            <a:spLocks noChangeArrowheads="1"/>
          </p:cNvSpPr>
          <p:nvPr/>
        </p:nvSpPr>
        <p:spPr bwMode="auto">
          <a:xfrm>
            <a:off x="323528" y="260648"/>
            <a:ext cx="6912768" cy="7041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GB" altLang="en-US" sz="2800" b="1" dirty="0">
                <a:solidFill>
                  <a:srgbClr val="FFFFFF"/>
                </a:solidFill>
              </a:rPr>
              <a:t>PROGRAMME 6:  HEALTH SYSTEM GOVERNANCE &amp; HUMAN RESOURCES 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1560" y="1268760"/>
            <a:ext cx="7920880" cy="4373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6480590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 txBox="1">
            <a:spLocks noChangeArrowheads="1"/>
          </p:cNvSpPr>
          <p:nvPr/>
        </p:nvSpPr>
        <p:spPr bwMode="auto">
          <a:xfrm>
            <a:off x="323528" y="260648"/>
            <a:ext cx="6912768" cy="7041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GB" altLang="en-US" sz="2800" b="1" dirty="0">
                <a:solidFill>
                  <a:srgbClr val="FFFFFF"/>
                </a:solidFill>
              </a:rPr>
              <a:t>PROGRAMME 6:  HEALTH SYSTEM GOVERNANCE &amp; HUMAN RESOURCES 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3568" y="1772816"/>
            <a:ext cx="7741313" cy="207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5994447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THANK</a:t>
            </a:r>
            <a:r>
              <a:rPr lang="en-US" dirty="0"/>
              <a:t> </a:t>
            </a:r>
            <a:r>
              <a:rPr lang="en-US" dirty="0">
                <a:solidFill>
                  <a:schemeClr val="bg1"/>
                </a:solidFill>
              </a:rPr>
              <a:t>YOU</a:t>
            </a: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1988840"/>
            <a:ext cx="8774044" cy="2880320"/>
          </a:xfrm>
        </p:spPr>
      </p:pic>
    </p:spTree>
    <p:extLst>
      <p:ext uri="{BB962C8B-B14F-4D97-AF65-F5344CB8AC3E}">
        <p14:creationId xmlns:p14="http://schemas.microsoft.com/office/powerpoint/2010/main" val="116552299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sz="2400" dirty="0"/>
              <a:t>PROGRAMME 1 - ADMINISTRATION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"/>
          </p:nvPr>
        </p:nvSpPr>
        <p:spPr>
          <a:xfrm>
            <a:off x="612144" y="1124744"/>
            <a:ext cx="7886700" cy="4351338"/>
          </a:xfrm>
        </p:spPr>
        <p:txBody>
          <a:bodyPr/>
          <a:lstStyle/>
          <a:p>
            <a:pPr algn="ctr">
              <a:buNone/>
            </a:pPr>
            <a:endParaRPr lang="en-ZA" sz="2400" dirty="0"/>
          </a:p>
          <a:p>
            <a:pPr algn="ctr">
              <a:buNone/>
            </a:pPr>
            <a:endParaRPr lang="en-ZA" sz="2400" dirty="0"/>
          </a:p>
          <a:p>
            <a:pPr algn="ctr">
              <a:buNone/>
            </a:pPr>
            <a:r>
              <a:rPr lang="en-ZA" sz="2400" dirty="0"/>
              <a:t>The purpose of the Administration Programme is to provide </a:t>
            </a:r>
            <a:r>
              <a:rPr lang="en-ZA" sz="2400" b="1" dirty="0">
                <a:solidFill>
                  <a:schemeClr val="accent3">
                    <a:lumMod val="50000"/>
                  </a:schemeClr>
                </a:solidFill>
              </a:rPr>
              <a:t>support services to the National Department of Health</a:t>
            </a:r>
            <a:r>
              <a:rPr lang="en-ZA" sz="2400" dirty="0"/>
              <a:t>. These include: Human Resources Development and Management, Labour Relations Services, Information Communication Technology Services, Property Management Services, Security Services, Legal Services, Supply Chain Management and Financial Management Services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E4298AAE-E9C8-41B1-85D9-BB0A857C682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27759742"/>
              </p:ext>
            </p:extLst>
          </p:nvPr>
        </p:nvGraphicFramePr>
        <p:xfrm>
          <a:off x="143507" y="1124744"/>
          <a:ext cx="8856985" cy="4801679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136611">
                  <a:extLst>
                    <a:ext uri="{9D8B030D-6E8A-4147-A177-3AD203B41FA5}">
                      <a16:colId xmlns:a16="http://schemas.microsoft.com/office/drawing/2014/main" val="2270940587"/>
                    </a:ext>
                  </a:extLst>
                </a:gridCol>
                <a:gridCol w="1286729">
                  <a:extLst>
                    <a:ext uri="{9D8B030D-6E8A-4147-A177-3AD203B41FA5}">
                      <a16:colId xmlns:a16="http://schemas.microsoft.com/office/drawing/2014/main" val="699228783"/>
                    </a:ext>
                  </a:extLst>
                </a:gridCol>
                <a:gridCol w="1286729">
                  <a:extLst>
                    <a:ext uri="{9D8B030D-6E8A-4147-A177-3AD203B41FA5}">
                      <a16:colId xmlns:a16="http://schemas.microsoft.com/office/drawing/2014/main" val="1129905075"/>
                    </a:ext>
                  </a:extLst>
                </a:gridCol>
                <a:gridCol w="1286729">
                  <a:extLst>
                    <a:ext uri="{9D8B030D-6E8A-4147-A177-3AD203B41FA5}">
                      <a16:colId xmlns:a16="http://schemas.microsoft.com/office/drawing/2014/main" val="1451099684"/>
                    </a:ext>
                  </a:extLst>
                </a:gridCol>
                <a:gridCol w="1286729">
                  <a:extLst>
                    <a:ext uri="{9D8B030D-6E8A-4147-A177-3AD203B41FA5}">
                      <a16:colId xmlns:a16="http://schemas.microsoft.com/office/drawing/2014/main" val="2361683877"/>
                    </a:ext>
                  </a:extLst>
                </a:gridCol>
                <a:gridCol w="1286729">
                  <a:extLst>
                    <a:ext uri="{9D8B030D-6E8A-4147-A177-3AD203B41FA5}">
                      <a16:colId xmlns:a16="http://schemas.microsoft.com/office/drawing/2014/main" val="1355610197"/>
                    </a:ext>
                  </a:extLst>
                </a:gridCol>
                <a:gridCol w="1286729">
                  <a:extLst>
                    <a:ext uri="{9D8B030D-6E8A-4147-A177-3AD203B41FA5}">
                      <a16:colId xmlns:a16="http://schemas.microsoft.com/office/drawing/2014/main" val="3030224932"/>
                    </a:ext>
                  </a:extLst>
                </a:gridCol>
              </a:tblGrid>
              <a:tr h="556627">
                <a:tc rowSpan="2"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Outcom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Outpu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Output Indicator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stimated Performance</a:t>
                      </a: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1/22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dirty="0"/>
                        <a:t>MTEF Target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06251596"/>
                  </a:ext>
                </a:extLst>
              </a:tr>
              <a:tr h="531381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b="1" kern="1200" dirty="0">
                          <a:solidFill>
                            <a:schemeClr val="lt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</a:rPr>
                        <a:t>Annual Target 2022/23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b="1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3/24</a:t>
                      </a:r>
                      <a:endParaRPr lang="en-US" sz="11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b="1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4/2025</a:t>
                      </a:r>
                      <a:endParaRPr lang="en-US" sz="11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8272784"/>
                  </a:ext>
                </a:extLst>
              </a:tr>
              <a:tr h="556627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effectLst/>
                          <a:latin typeface="Arial Nova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inancial Management strengthened in the health sector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 Nova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udit outcome of National </a:t>
                      </a:r>
                      <a:r>
                        <a:rPr lang="en-US" sz="1000" dirty="0" err="1">
                          <a:solidFill>
                            <a:srgbClr val="000000"/>
                          </a:solidFill>
                          <a:effectLst/>
                          <a:latin typeface="Arial Nova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oH</a:t>
                      </a: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 Nova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endParaRPr lang="en-US" sz="1000" dirty="0">
                        <a:effectLst/>
                        <a:latin typeface="Arial Nova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 Nova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udit outcome of National </a:t>
                      </a:r>
                      <a:r>
                        <a:rPr lang="en-US" sz="1000" dirty="0" err="1">
                          <a:solidFill>
                            <a:srgbClr val="000000"/>
                          </a:solidFill>
                          <a:effectLst/>
                          <a:latin typeface="Arial Nova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oH</a:t>
                      </a: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 Nova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endParaRPr lang="en-US" sz="1000" dirty="0">
                        <a:effectLst/>
                        <a:latin typeface="Arial Nova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effectLst/>
                          <a:latin typeface="Arial Nova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Unqualified audit opinion for 2020/21 FY received 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 Nova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Unqualified audit </a:t>
                      </a:r>
                      <a:b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 Nova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</a:b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 Nova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pinion for </a:t>
                      </a:r>
                      <a:b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 Nova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</a:b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 Nova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1/22 FY </a:t>
                      </a:r>
                      <a:b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 Nova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</a:b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 Nova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eceived</a:t>
                      </a:r>
                      <a:endParaRPr lang="en-US" sz="1000" dirty="0">
                        <a:effectLst/>
                        <a:latin typeface="Arial Nova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effectLst/>
                          <a:latin typeface="Arial Nova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Unqualified audit </a:t>
                      </a: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 Nova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/>
                      </a:r>
                      <a:b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 Nova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</a:b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 Nova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pinion for </a:t>
                      </a:r>
                      <a:b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 Nova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</a:b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 Nova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2/23 </a:t>
                      </a:r>
                      <a:b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 Nova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</a:b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 Nova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Y received </a:t>
                      </a:r>
                      <a:endParaRPr lang="en-US" sz="1000">
                        <a:effectLst/>
                        <a:latin typeface="Arial Nova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 Nova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Unqualified audit </a:t>
                      </a:r>
                      <a:b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 Nova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</a:b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 Nova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pinion for </a:t>
                      </a:r>
                      <a:b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 Nova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</a:b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 Nova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3/24 </a:t>
                      </a:r>
                      <a:b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 Nova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</a:b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 Nova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Y received </a:t>
                      </a:r>
                      <a:endParaRPr lang="en-US" sz="1000" dirty="0">
                        <a:effectLst/>
                        <a:latin typeface="Arial Nova" panose="020B060402020202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98857576"/>
                  </a:ext>
                </a:extLst>
              </a:tr>
              <a:tr h="556627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anagement of Medico-legal cases in the health system strengthened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 policy and legal framework to manage medico-legal claims in South Africa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 policy and legal framework to manage medico-legal claims in South Africa developed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 policy and legal framework gazette to manage medico-legal claims in South Africa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egislation to manage medico-legal claims in South Africa developed 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egislation to manage medico-legal claims in South Africa promulgated 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egislation to manage medico-legal claims in South Africa promulgated and implemented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69677233"/>
                  </a:ext>
                </a:extLst>
              </a:tr>
              <a:tr h="556627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anagement of Medico-legal cases in the health system </a:t>
                      </a: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trengthened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 secure case management system developed and implemented 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 secure case management system developed and implemented to streamline case management in 8 Provinces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ase Management System used to manage new medico legal claims in 7 provinces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ase Management system implemented (rollout) in the remaining four of eight (4/8) participating provinces, excluding Western Cape.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ase Management system continuously implemented (rollout) in all 8 participating provinces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ase Management system continuously implemented (rollout) in all 8 participating provinces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7036030"/>
                  </a:ext>
                </a:extLst>
              </a:tr>
              <a:tr h="556627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remature mortality due to NCDs reduced to 26% (10% reduction)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Health Promotion messages actively marketed through social media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umber of Health promotion messages broadcasted on Social Media to supplement other channels of communication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0  health promotion messages broadcasted on</a:t>
                      </a: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social media 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0 health promotion messages on NDOH social media placed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ocial media platforms with NDoH presence increased (YouTube)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ocial media platforms with </a:t>
                      </a:r>
                      <a:r>
                        <a:rPr lang="en-US" sz="10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DoH</a:t>
                      </a: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presence increased (TikTok)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7298351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D3CCE9F3-908C-4E8F-B7A0-D9CC0A3ACA46}"/>
              </a:ext>
            </a:extLst>
          </p:cNvPr>
          <p:cNvSpPr txBox="1"/>
          <p:nvPr/>
        </p:nvSpPr>
        <p:spPr>
          <a:xfrm>
            <a:off x="-324544" y="188640"/>
            <a:ext cx="699310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ZA" sz="24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gramme 1 Administration</a:t>
            </a:r>
            <a:endParaRPr lang="en-US" sz="16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23960130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E4298AAE-E9C8-41B1-85D9-BB0A857C682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70158352"/>
              </p:ext>
            </p:extLst>
          </p:nvPr>
        </p:nvGraphicFramePr>
        <p:xfrm>
          <a:off x="179512" y="1332880"/>
          <a:ext cx="8784978" cy="3346195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127370">
                  <a:extLst>
                    <a:ext uri="{9D8B030D-6E8A-4147-A177-3AD203B41FA5}">
                      <a16:colId xmlns:a16="http://schemas.microsoft.com/office/drawing/2014/main" val="2270940587"/>
                    </a:ext>
                  </a:extLst>
                </a:gridCol>
                <a:gridCol w="1276268">
                  <a:extLst>
                    <a:ext uri="{9D8B030D-6E8A-4147-A177-3AD203B41FA5}">
                      <a16:colId xmlns:a16="http://schemas.microsoft.com/office/drawing/2014/main" val="699228783"/>
                    </a:ext>
                  </a:extLst>
                </a:gridCol>
                <a:gridCol w="1276268">
                  <a:extLst>
                    <a:ext uri="{9D8B030D-6E8A-4147-A177-3AD203B41FA5}">
                      <a16:colId xmlns:a16="http://schemas.microsoft.com/office/drawing/2014/main" val="1129905075"/>
                    </a:ext>
                  </a:extLst>
                </a:gridCol>
                <a:gridCol w="1276268">
                  <a:extLst>
                    <a:ext uri="{9D8B030D-6E8A-4147-A177-3AD203B41FA5}">
                      <a16:colId xmlns:a16="http://schemas.microsoft.com/office/drawing/2014/main" val="1451099684"/>
                    </a:ext>
                  </a:extLst>
                </a:gridCol>
                <a:gridCol w="1276268">
                  <a:extLst>
                    <a:ext uri="{9D8B030D-6E8A-4147-A177-3AD203B41FA5}">
                      <a16:colId xmlns:a16="http://schemas.microsoft.com/office/drawing/2014/main" val="2361683877"/>
                    </a:ext>
                  </a:extLst>
                </a:gridCol>
                <a:gridCol w="1276268">
                  <a:extLst>
                    <a:ext uri="{9D8B030D-6E8A-4147-A177-3AD203B41FA5}">
                      <a16:colId xmlns:a16="http://schemas.microsoft.com/office/drawing/2014/main" val="1355610197"/>
                    </a:ext>
                  </a:extLst>
                </a:gridCol>
                <a:gridCol w="1276268">
                  <a:extLst>
                    <a:ext uri="{9D8B030D-6E8A-4147-A177-3AD203B41FA5}">
                      <a16:colId xmlns:a16="http://schemas.microsoft.com/office/drawing/2014/main" val="3030224932"/>
                    </a:ext>
                  </a:extLst>
                </a:gridCol>
              </a:tblGrid>
              <a:tr h="556627">
                <a:tc rowSpan="2"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Outcom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Outpu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Output Indicator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stimated Performance</a:t>
                      </a: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1/22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dirty="0"/>
                        <a:t>MTEF Target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06251596"/>
                  </a:ext>
                </a:extLst>
              </a:tr>
              <a:tr h="531381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b="1" kern="1200" dirty="0">
                          <a:solidFill>
                            <a:schemeClr val="lt1"/>
                          </a:solidFill>
                          <a:effectLst/>
                          <a:latin typeface="Arial Narrow" panose="020B0606020202030204" pitchFamily="34" charset="0"/>
                          <a:cs typeface="Times New Roman" panose="02020603050405020304" pitchFamily="18" charset="0"/>
                        </a:rPr>
                        <a:t>Annual Target 2022/23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b="1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3/24</a:t>
                      </a:r>
                      <a:endParaRPr lang="en-US" sz="11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b="1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4/2025</a:t>
                      </a:r>
                      <a:endParaRPr lang="en-US" sz="11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8272784"/>
                  </a:ext>
                </a:extLst>
              </a:tr>
              <a:tr h="556627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taff equitably distributed and have right skills and attitude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onitoring the implementation to reach the minimum targets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ercentage of Women, at SMS level appointed at </a:t>
                      </a:r>
                      <a:r>
                        <a:rPr lang="en-US" sz="10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DoH</a:t>
                      </a: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accordingly to the equity targets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0% of Women at SMS level, appointed accordingly to the equity targets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0% of Women at SMS level appointed at </a:t>
                      </a:r>
                      <a:r>
                        <a:rPr lang="en-US" sz="10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DoH</a:t>
                      </a: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accordingly to the equity targets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inimum Equity targets achieved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inimum Equity targets achieved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98857576"/>
                  </a:ext>
                </a:extLst>
              </a:tr>
              <a:tr h="556627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taff equitably distributed and have right skills and attitude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onitoring the implementation to reach the minimum targets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Percentage of Youth appointed at NDoH accordingly to the equity targets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0% Youth appointed at </a:t>
                      </a:r>
                      <a:r>
                        <a:rPr lang="en-US" sz="10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DoH</a:t>
                      </a: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accordingly to the equity targets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30% Youth appointed at </a:t>
                      </a:r>
                      <a:r>
                        <a:rPr lang="en-US" sz="10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DoH</a:t>
                      </a: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accordingly to the equity targets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inimum Equity targets achieved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inimum Equity targets achieved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69677233"/>
                  </a:ext>
                </a:extLst>
              </a:tr>
              <a:tr h="556627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taff equitably distributed and have right skills and attitude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onitoring the implementation to reach the minimum targets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ercentage of People with disabilities appointed at </a:t>
                      </a:r>
                      <a:r>
                        <a:rPr lang="en-US" sz="10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DoH</a:t>
                      </a: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accordingly to the equity targets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7% of People with disabilities appointed at NDoH accordingly to the equity targets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7% of People with disabilities appointed at </a:t>
                      </a:r>
                      <a:r>
                        <a:rPr lang="en-US" sz="10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DoH</a:t>
                      </a: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accordingly to the equity targets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inimum Equity targets achieved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inimum Equity targets achieved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7036030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D3CCE9F3-908C-4E8F-B7A0-D9CC0A3ACA46}"/>
              </a:ext>
            </a:extLst>
          </p:cNvPr>
          <p:cNvSpPr txBox="1"/>
          <p:nvPr/>
        </p:nvSpPr>
        <p:spPr>
          <a:xfrm>
            <a:off x="-324544" y="188640"/>
            <a:ext cx="699310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ZA" sz="24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gramme 1 Administration</a:t>
            </a:r>
            <a:endParaRPr lang="en-US" sz="16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34386477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060886-6BE6-4B1A-A69A-2A601E4F21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80528" y="-24422"/>
            <a:ext cx="7886700" cy="930276"/>
          </a:xfrm>
        </p:spPr>
        <p:txBody>
          <a:bodyPr/>
          <a:lstStyle/>
          <a:p>
            <a:r>
              <a:rPr lang="en-ZA" sz="3600" dirty="0"/>
              <a:t>Programme 2 : National Health </a:t>
            </a:r>
            <a:br>
              <a:rPr lang="en-ZA" sz="3600" dirty="0"/>
            </a:br>
            <a:r>
              <a:rPr lang="en-ZA" sz="3600" dirty="0"/>
              <a:t>Insuranc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097933-DAE9-4AA7-861A-BC74E6E4E63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en-ZA" sz="2800" dirty="0"/>
              <a:t>The purpose of </a:t>
            </a:r>
            <a:r>
              <a:rPr lang="en-GB" sz="2800" dirty="0"/>
              <a:t>National Health Insurance Programme is to </a:t>
            </a:r>
            <a:r>
              <a:rPr lang="en-GB" sz="2800" b="1" dirty="0">
                <a:solidFill>
                  <a:schemeClr val="accent3">
                    <a:lumMod val="50000"/>
                  </a:schemeClr>
                </a:solidFill>
              </a:rPr>
              <a:t>improve access to quality health services</a:t>
            </a:r>
            <a:r>
              <a:rPr lang="en-GB" sz="2800" dirty="0"/>
              <a:t> through the development and implementation of policies to </a:t>
            </a:r>
            <a:r>
              <a:rPr lang="en-GB" sz="2800" b="1" dirty="0">
                <a:solidFill>
                  <a:schemeClr val="accent3">
                    <a:lumMod val="50000"/>
                  </a:schemeClr>
                </a:solidFill>
              </a:rPr>
              <a:t>achieve universal health coverage</a:t>
            </a:r>
            <a:r>
              <a:rPr lang="en-GB" sz="2800" dirty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en-GB" sz="2800" dirty="0"/>
              <a:t>and</a:t>
            </a:r>
            <a:r>
              <a:rPr lang="en-GB" sz="2800" dirty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en-GB" sz="2800" b="1" dirty="0">
                <a:solidFill>
                  <a:schemeClr val="accent3">
                    <a:lumMod val="50000"/>
                  </a:schemeClr>
                </a:solidFill>
              </a:rPr>
              <a:t>health financing reform</a:t>
            </a:r>
            <a:endParaRPr lang="en-ZA" sz="2800" dirty="0"/>
          </a:p>
          <a:p>
            <a:pPr marL="0" indent="0" algn="ctr">
              <a:buNone/>
            </a:pPr>
            <a:endParaRPr lang="en-ZA" sz="2800" dirty="0"/>
          </a:p>
        </p:txBody>
      </p:sp>
    </p:spTree>
    <p:extLst>
      <p:ext uri="{BB962C8B-B14F-4D97-AF65-F5344CB8AC3E}">
        <p14:creationId xmlns:p14="http://schemas.microsoft.com/office/powerpoint/2010/main" val="168610113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E4298AAE-E9C8-41B1-85D9-BB0A857C682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72708435"/>
              </p:ext>
            </p:extLst>
          </p:nvPr>
        </p:nvGraphicFramePr>
        <p:xfrm>
          <a:off x="251520" y="1124744"/>
          <a:ext cx="8712971" cy="566279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118129">
                  <a:extLst>
                    <a:ext uri="{9D8B030D-6E8A-4147-A177-3AD203B41FA5}">
                      <a16:colId xmlns:a16="http://schemas.microsoft.com/office/drawing/2014/main" val="2270940587"/>
                    </a:ext>
                  </a:extLst>
                </a:gridCol>
                <a:gridCol w="1265807">
                  <a:extLst>
                    <a:ext uri="{9D8B030D-6E8A-4147-A177-3AD203B41FA5}">
                      <a16:colId xmlns:a16="http://schemas.microsoft.com/office/drawing/2014/main" val="699228783"/>
                    </a:ext>
                  </a:extLst>
                </a:gridCol>
                <a:gridCol w="1265807">
                  <a:extLst>
                    <a:ext uri="{9D8B030D-6E8A-4147-A177-3AD203B41FA5}">
                      <a16:colId xmlns:a16="http://schemas.microsoft.com/office/drawing/2014/main" val="1129905075"/>
                    </a:ext>
                  </a:extLst>
                </a:gridCol>
                <a:gridCol w="1265807">
                  <a:extLst>
                    <a:ext uri="{9D8B030D-6E8A-4147-A177-3AD203B41FA5}">
                      <a16:colId xmlns:a16="http://schemas.microsoft.com/office/drawing/2014/main" val="1451099684"/>
                    </a:ext>
                  </a:extLst>
                </a:gridCol>
                <a:gridCol w="1265807">
                  <a:extLst>
                    <a:ext uri="{9D8B030D-6E8A-4147-A177-3AD203B41FA5}">
                      <a16:colId xmlns:a16="http://schemas.microsoft.com/office/drawing/2014/main" val="2361683877"/>
                    </a:ext>
                  </a:extLst>
                </a:gridCol>
                <a:gridCol w="1265807">
                  <a:extLst>
                    <a:ext uri="{9D8B030D-6E8A-4147-A177-3AD203B41FA5}">
                      <a16:colId xmlns:a16="http://schemas.microsoft.com/office/drawing/2014/main" val="1355610197"/>
                    </a:ext>
                  </a:extLst>
                </a:gridCol>
                <a:gridCol w="1265807">
                  <a:extLst>
                    <a:ext uri="{9D8B030D-6E8A-4147-A177-3AD203B41FA5}">
                      <a16:colId xmlns:a16="http://schemas.microsoft.com/office/drawing/2014/main" val="3030224932"/>
                    </a:ext>
                  </a:extLst>
                </a:gridCol>
              </a:tblGrid>
              <a:tr h="519101">
                <a:tc rowSpan="2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 Nova" panose="020B0504020202020204" pitchFamily="34" charset="0"/>
                        </a:rPr>
                        <a:t>Outcom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 Nova" panose="020B0504020202020204" pitchFamily="34" charset="0"/>
                        </a:rPr>
                        <a:t>Outpu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rial Nova" panose="020B0504020202020204" pitchFamily="34" charset="0"/>
                        </a:rPr>
                        <a:t>Output Indicator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b="1" dirty="0"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Estimated Performance</a:t>
                      </a: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b="1" dirty="0"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2021/22</a:t>
                      </a:r>
                      <a:endParaRPr lang="en-US" sz="1100" dirty="0">
                        <a:effectLst/>
                        <a:latin typeface="Arial Nova" panose="020B0504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 Nova" panose="020B0504020202020204" pitchFamily="34" charset="0"/>
                        </a:rPr>
                        <a:t>MTEF Target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06251596"/>
                  </a:ext>
                </a:extLst>
              </a:tr>
              <a:tr h="495557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b="1" kern="1200" dirty="0">
                          <a:solidFill>
                            <a:schemeClr val="lt1"/>
                          </a:solidFill>
                          <a:effectLst/>
                          <a:latin typeface="Arial Nova" panose="020B0504020202020204" pitchFamily="34" charset="0"/>
                          <a:cs typeface="Times New Roman" panose="02020603050405020304" pitchFamily="18" charset="0"/>
                        </a:rPr>
                        <a:t>Annual Target 2022/23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b="1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2023/24</a:t>
                      </a:r>
                      <a:endParaRPr lang="en-US" sz="11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Arial Nova" panose="020B0504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000" b="1" dirty="0"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2024/2025</a:t>
                      </a:r>
                      <a:endParaRPr lang="en-US" sz="1100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Arial Nova" panose="020B0504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39B0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8272784"/>
                  </a:ext>
                </a:extLst>
              </a:tr>
              <a:tr h="111516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900" dirty="0"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Package of services available to the population is expanded on the basis of cost-effectiveness and equity </a:t>
                      </a:r>
                      <a:endParaRPr lang="en-US" sz="1050" dirty="0">
                        <a:effectLst/>
                        <a:latin typeface="Arial Nova" panose="020B0504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900" dirty="0"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 NHI Fund purchasing Health Services by 2024/25</a:t>
                      </a:r>
                      <a:endParaRPr lang="en-US" sz="1050" dirty="0">
                        <a:effectLst/>
                        <a:latin typeface="Arial Nova" panose="020B0504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900" dirty="0"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NHI Fund purchasing health services by 2024/25</a:t>
                      </a:r>
                      <a:endParaRPr lang="en-US" sz="1050" dirty="0">
                        <a:effectLst/>
                        <a:latin typeface="Arial Nova" panose="020B0504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900" dirty="0"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Portfolio</a:t>
                      </a:r>
                      <a:br>
                        <a:rPr lang="en-US" sz="900" dirty="0"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</a:br>
                      <a:r>
                        <a:rPr lang="en-US" sz="900" dirty="0"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Committee and NCOP</a:t>
                      </a:r>
                      <a:br>
                        <a:rPr lang="en-US" sz="900" dirty="0"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</a:br>
                      <a:r>
                        <a:rPr lang="en-US" sz="900" dirty="0"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public hearings</a:t>
                      </a:r>
                      <a:br>
                        <a:rPr lang="en-US" sz="900" dirty="0"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</a:br>
                      <a:r>
                        <a:rPr lang="en-US" sz="900" dirty="0"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on the NHI Bill</a:t>
                      </a:r>
                      <a:br>
                        <a:rPr lang="en-US" sz="900" dirty="0"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</a:br>
                      <a:r>
                        <a:rPr lang="en-US" sz="900" dirty="0"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in Parliament</a:t>
                      </a:r>
                      <a:br>
                        <a:rPr lang="en-US" sz="900" dirty="0"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</a:br>
                      <a:r>
                        <a:rPr lang="en-US" sz="900" dirty="0"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attended</a:t>
                      </a:r>
                      <a:endParaRPr lang="en-US" sz="1050" dirty="0">
                        <a:effectLst/>
                        <a:latin typeface="Arial Nova" panose="020B0504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900" dirty="0"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Portfolio</a:t>
                      </a:r>
                      <a:br>
                        <a:rPr lang="en-US" sz="900" dirty="0"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</a:br>
                      <a:r>
                        <a:rPr lang="en-US" sz="900" dirty="0"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Committee and NCOP</a:t>
                      </a:r>
                      <a:br>
                        <a:rPr lang="en-US" sz="900" dirty="0"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</a:br>
                      <a:r>
                        <a:rPr lang="en-US" sz="900" dirty="0"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public hearings</a:t>
                      </a:r>
                      <a:br>
                        <a:rPr lang="en-US" sz="900" dirty="0"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</a:br>
                      <a:r>
                        <a:rPr lang="en-US" sz="900" dirty="0"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on the NHI Bill</a:t>
                      </a:r>
                      <a:br>
                        <a:rPr lang="en-US" sz="900" dirty="0"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</a:br>
                      <a:r>
                        <a:rPr lang="en-US" sz="900" dirty="0"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in Parliament</a:t>
                      </a:r>
                      <a:br>
                        <a:rPr lang="en-US" sz="900" dirty="0"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</a:br>
                      <a:r>
                        <a:rPr lang="en-US" sz="900" dirty="0"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attended</a:t>
                      </a:r>
                      <a:endParaRPr lang="en-US" sz="1050" dirty="0">
                        <a:effectLst/>
                        <a:latin typeface="Arial Nova" panose="020B0504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900" dirty="0"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NHI Bill</a:t>
                      </a:r>
                      <a:br>
                        <a:rPr lang="en-US" sz="900" dirty="0"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</a:br>
                      <a:r>
                        <a:rPr lang="en-US" sz="900" dirty="0"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serving at the National Assembly</a:t>
                      </a:r>
                      <a:endParaRPr lang="en-US" sz="1050" dirty="0">
                        <a:effectLst/>
                        <a:latin typeface="Arial Nova" panose="020B0504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900"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800"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 NHI Branch in NDOH purchasing PHC benefits in proof-of-concept CUPS by 2024/25</a:t>
                      </a:r>
                      <a:endParaRPr lang="en-US" sz="1050">
                        <a:effectLst/>
                        <a:latin typeface="Arial Nova" panose="020B0504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98857576"/>
                  </a:ext>
                </a:extLst>
              </a:tr>
              <a:tr h="120889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900">
                          <a:solidFill>
                            <a:srgbClr val="000000"/>
                          </a:solidFill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Package of services available to the population is expanded on the basis of cost-effectiveness and equity </a:t>
                      </a:r>
                      <a:endParaRPr lang="en-US" sz="1050">
                        <a:effectLst/>
                        <a:latin typeface="Arial Nova" panose="020B0504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900">
                          <a:solidFill>
                            <a:srgbClr val="000000"/>
                          </a:solidFill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Expand the access to chronic medication for stable patients</a:t>
                      </a:r>
                      <a:endParaRPr lang="en-US" sz="1050">
                        <a:effectLst/>
                        <a:latin typeface="Arial Nova" panose="020B0504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900" dirty="0">
                          <a:solidFill>
                            <a:srgbClr val="000000"/>
                          </a:solidFill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Number of patients registered on the central chronic medication dispensing and distribution (CCMDD) </a:t>
                      </a:r>
                      <a:r>
                        <a:rPr lang="en-US" sz="900" dirty="0" err="1">
                          <a:solidFill>
                            <a:srgbClr val="000000"/>
                          </a:solidFill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programme</a:t>
                      </a:r>
                      <a:endParaRPr lang="en-US" sz="1050" dirty="0">
                        <a:effectLst/>
                        <a:latin typeface="Arial Nova" panose="020B0504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900" dirty="0">
                          <a:solidFill>
                            <a:srgbClr val="000000"/>
                          </a:solidFill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4.8million registered patients</a:t>
                      </a:r>
                      <a:endParaRPr lang="en-US" sz="1050" dirty="0">
                        <a:effectLst/>
                        <a:latin typeface="Arial Nova" panose="020B0504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900" dirty="0">
                          <a:solidFill>
                            <a:srgbClr val="000000"/>
                          </a:solidFill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5.5million registered patients</a:t>
                      </a:r>
                      <a:endParaRPr lang="en-US" sz="1050" dirty="0">
                        <a:effectLst/>
                        <a:latin typeface="Arial Nova" panose="020B0504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900" dirty="0">
                          <a:solidFill>
                            <a:srgbClr val="000000"/>
                          </a:solidFill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6 million registered patients</a:t>
                      </a:r>
                      <a:endParaRPr lang="en-US" sz="1050" dirty="0">
                        <a:effectLst/>
                        <a:latin typeface="Arial Nova" panose="020B0504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900" dirty="0">
                          <a:solidFill>
                            <a:srgbClr val="000000"/>
                          </a:solidFill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6.5million registered patients</a:t>
                      </a:r>
                      <a:endParaRPr lang="en-US" sz="1050" dirty="0">
                        <a:effectLst/>
                        <a:latin typeface="Arial Nova" panose="020B0504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69677233"/>
                  </a:ext>
                </a:extLst>
              </a:tr>
              <a:tr h="111516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900"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Package of services available to the population is expanded on the basis of cost-effectiveness and equity </a:t>
                      </a:r>
                      <a:endParaRPr lang="en-US" sz="1050">
                        <a:effectLst/>
                        <a:latin typeface="Arial Nova" panose="020B0504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900"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Number of human resources available to support the NHI implementation increased</a:t>
                      </a:r>
                      <a:endParaRPr lang="en-US" sz="1050">
                        <a:effectLst/>
                        <a:latin typeface="Arial Nova" panose="020B0504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900"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Percentage of funded posts in the NHI organogram filled</a:t>
                      </a:r>
                      <a:endParaRPr lang="en-US" sz="1050">
                        <a:effectLst/>
                        <a:latin typeface="Arial Nova" panose="020B0504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900"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Not Applicable</a:t>
                      </a:r>
                      <a:endParaRPr lang="en-US" sz="1050">
                        <a:effectLst/>
                        <a:latin typeface="Arial Nova" panose="020B0504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900" dirty="0"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70% of funded posts in the NHI organogram filled</a:t>
                      </a:r>
                      <a:endParaRPr lang="en-US" sz="1050" dirty="0">
                        <a:effectLst/>
                        <a:latin typeface="Arial Nova" panose="020B0504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900" dirty="0"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90% of funded posts in the NHI organogram filled</a:t>
                      </a:r>
                      <a:endParaRPr lang="en-US" sz="1050" dirty="0">
                        <a:effectLst/>
                        <a:latin typeface="Arial Nova" panose="020B0504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900" dirty="0"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90% of funded posts in the NHI organogram filled</a:t>
                      </a:r>
                      <a:endParaRPr lang="en-US" sz="1050" dirty="0">
                        <a:effectLst/>
                        <a:latin typeface="Arial Nova" panose="020B0504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7036030"/>
                  </a:ext>
                </a:extLst>
              </a:tr>
              <a:tr h="120889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900" dirty="0"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Resources are available to managers and frontline providers, with flexibility to manage it according to their local needs</a:t>
                      </a:r>
                      <a:endParaRPr lang="en-US" sz="1050" dirty="0">
                        <a:effectLst/>
                        <a:latin typeface="Arial Nova" panose="020B0504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900"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Health facilities reporting stock availability at national surveillance centre  </a:t>
                      </a:r>
                      <a:endParaRPr lang="en-US" sz="1050">
                        <a:effectLst/>
                        <a:latin typeface="Arial Nova" panose="020B0504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900" dirty="0"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Total number of health facilities reporting stock availability at national surveillance </a:t>
                      </a:r>
                      <a:r>
                        <a:rPr lang="en-US" sz="900" dirty="0" err="1"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centre</a:t>
                      </a:r>
                      <a:r>
                        <a:rPr lang="en-US" sz="900" dirty="0"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  </a:t>
                      </a:r>
                      <a:endParaRPr lang="en-US" sz="1050" dirty="0">
                        <a:effectLst/>
                        <a:latin typeface="Arial Nova" panose="020B0504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900"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3830 Health facilities</a:t>
                      </a:r>
                      <a:endParaRPr lang="en-US" sz="1050">
                        <a:effectLst/>
                        <a:latin typeface="Arial Nova" panose="020B0504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900" dirty="0"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3850 Health facilities</a:t>
                      </a:r>
                      <a:endParaRPr lang="en-US" sz="1050" dirty="0">
                        <a:effectLst/>
                        <a:latin typeface="Arial Nova" panose="020B0504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900" dirty="0"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3860 Health facilities</a:t>
                      </a:r>
                      <a:endParaRPr lang="en-US" sz="1050" dirty="0">
                        <a:effectLst/>
                        <a:latin typeface="Arial Nova" panose="020B0504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900" dirty="0">
                          <a:effectLst/>
                          <a:latin typeface="Arial Nova" panose="020B05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3870 Health facilities</a:t>
                      </a:r>
                      <a:endParaRPr lang="en-US" sz="1050" dirty="0">
                        <a:effectLst/>
                        <a:latin typeface="Arial Nova" panose="020B050402020202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7298351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DB6AD525-3603-4E08-AFBB-44D1659EC1DB}"/>
              </a:ext>
            </a:extLst>
          </p:cNvPr>
          <p:cNvSpPr txBox="1"/>
          <p:nvPr/>
        </p:nvSpPr>
        <p:spPr>
          <a:xfrm>
            <a:off x="-324544" y="188640"/>
            <a:ext cx="699310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</a:t>
            </a:r>
            <a:r>
              <a:rPr lang="en-US" sz="2400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gramme</a:t>
            </a:r>
            <a:r>
              <a:rPr lang="en-US" sz="24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: National Health Insurance</a:t>
            </a:r>
            <a:endParaRPr lang="en-US" sz="16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5651399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DeIVz0RoyyGqFVhYARY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2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3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4_Custom Design">
  <a:themeElements>
    <a:clrScheme name="Custom 3">
      <a:dk1>
        <a:sysClr val="windowText" lastClr="000000"/>
      </a:dk1>
      <a:lt1>
        <a:sysClr val="window" lastClr="FFFFFF"/>
      </a:lt1>
      <a:dk2>
        <a:srgbClr val="005D28"/>
      </a:dk2>
      <a:lt2>
        <a:srgbClr val="7F7F7F"/>
      </a:lt2>
      <a:accent1>
        <a:srgbClr val="005D28"/>
      </a:accent1>
      <a:accent2>
        <a:srgbClr val="39931D"/>
      </a:accent2>
      <a:accent3>
        <a:srgbClr val="9BBB59"/>
      </a:accent3>
      <a:accent4>
        <a:srgbClr val="FFC000"/>
      </a:accent4>
      <a:accent5>
        <a:srgbClr val="81875A"/>
      </a:accent5>
      <a:accent6>
        <a:srgbClr val="FFFF00"/>
      </a:accent6>
      <a:hlink>
        <a:srgbClr val="0000FF"/>
      </a:hlink>
      <a:folHlink>
        <a:srgbClr val="FF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5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733</Words>
  <Application>Microsoft Office PowerPoint</Application>
  <PresentationFormat>On-screen Show (4:3)</PresentationFormat>
  <Paragraphs>644</Paragraphs>
  <Slides>47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7</vt:i4>
      </vt:variant>
    </vt:vector>
  </HeadingPairs>
  <TitlesOfParts>
    <vt:vector size="65" baseType="lpstr">
      <vt:lpstr>Arial</vt:lpstr>
      <vt:lpstr>Arial Black</vt:lpstr>
      <vt:lpstr>Arial Narrow</vt:lpstr>
      <vt:lpstr>Arial Nova</vt:lpstr>
      <vt:lpstr>Calibri</vt:lpstr>
      <vt:lpstr>Century Gothic</vt:lpstr>
      <vt:lpstr>Courier New</vt:lpstr>
      <vt:lpstr>Times New Roman</vt:lpstr>
      <vt:lpstr>Verdana</vt:lpstr>
      <vt:lpstr>Wingdings</vt:lpstr>
      <vt:lpstr>Office Theme</vt:lpstr>
      <vt:lpstr>Custom Design</vt:lpstr>
      <vt:lpstr>1_Custom Design</vt:lpstr>
      <vt:lpstr>2_Custom Design</vt:lpstr>
      <vt:lpstr>3_Custom Design</vt:lpstr>
      <vt:lpstr>4_Custom Design</vt:lpstr>
      <vt:lpstr>5_Custom Design</vt:lpstr>
      <vt:lpstr>think-cell Slide</vt:lpstr>
      <vt:lpstr>PowerPoint Presentation</vt:lpstr>
      <vt:lpstr>Basis and Context of the National DoH Strategic Plan and APP</vt:lpstr>
      <vt:lpstr>Basis and Context of the National DoH Strategic Plan and APP</vt:lpstr>
      <vt:lpstr>Annual Performance Plan 2022/23</vt:lpstr>
      <vt:lpstr>PROGRAMME 1 - ADMINISTRATION</vt:lpstr>
      <vt:lpstr>PowerPoint Presentation</vt:lpstr>
      <vt:lpstr>PowerPoint Presentation</vt:lpstr>
      <vt:lpstr>Programme 2 : National Health  Insurance</vt:lpstr>
      <vt:lpstr>PowerPoint Presentation</vt:lpstr>
      <vt:lpstr>Programme 3: Communicable and Non Communicable Diseas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rogramme 4 : Primary Health Care</vt:lpstr>
      <vt:lpstr>PowerPoint Presentation</vt:lpstr>
      <vt:lpstr>PowerPoint Presentation</vt:lpstr>
      <vt:lpstr>PowerPoint Presentation</vt:lpstr>
      <vt:lpstr>PowerPoint Presentation</vt:lpstr>
      <vt:lpstr>Programme 5 : Hospital Systems </vt:lpstr>
      <vt:lpstr>PowerPoint Presentation</vt:lpstr>
      <vt:lpstr>PowerPoint Presentation</vt:lpstr>
      <vt:lpstr>Programme 6: Health System Governance and  Human Resources </vt:lpstr>
      <vt:lpstr>PowerPoint Presentation</vt:lpstr>
      <vt:lpstr>PowerPoint Presentation</vt:lpstr>
      <vt:lpstr>PowerPoint Presentation</vt:lpstr>
      <vt:lpstr>PowerPoint Presentation</vt:lpstr>
      <vt:lpstr>31 </vt:lpstr>
      <vt:lpstr>32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Schmim</dc:creator>
  <cp:lastModifiedBy>Vuyokazi Majalamba</cp:lastModifiedBy>
  <cp:revision>958</cp:revision>
  <cp:lastPrinted>2019-12-04T07:05:46Z</cp:lastPrinted>
  <dcterms:created xsi:type="dcterms:W3CDTF">2013-10-17T06:13:57Z</dcterms:created>
  <dcterms:modified xsi:type="dcterms:W3CDTF">2022-04-21T10:22:37Z</dcterms:modified>
</cp:coreProperties>
</file>